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5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ED95A5-65A7-0AEB-B9CE-3D32095D6E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3E23E42-806C-A47D-B5E5-B2EBAADBD11D}"/>
              </a:ext>
            </a:extLst>
          </p:cNvPr>
          <p:cNvSpPr>
            <a:spLocks/>
          </p:cNvSpPr>
          <p:nvPr/>
        </p:nvSpPr>
        <p:spPr>
          <a:xfrm>
            <a:off x="397310" y="1466752"/>
            <a:ext cx="11144837" cy="4567835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 cmpd="sng" algn="ctr">
            <a:solidFill>
              <a:srgbClr val="E0E0E0"/>
            </a:solidFill>
            <a:prstDash val="solid"/>
          </a:ln>
          <a:effectLst>
            <a:outerShdw blurRad="63500" sx="98000" sy="98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Clr>
                <a:srgbClr val="000000"/>
              </a:buClr>
              <a:defRPr/>
            </a:pPr>
            <a:endParaRPr lang="en-IN" sz="136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6964C8-68ED-2E22-8D5E-8215A40D7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674D797-3323-CC97-CEF5-D2E8B31FD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20E111-1022-BD12-3A9B-2A446135A72F}"/>
              </a:ext>
            </a:extLst>
          </p:cNvPr>
          <p:cNvSpPr txBox="1"/>
          <p:nvPr/>
        </p:nvSpPr>
        <p:spPr>
          <a:xfrm>
            <a:off x="8613830" y="5386492"/>
            <a:ext cx="2533575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lang="en-IN" sz="1537" baseline="30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Oval 66">
            <a:extLst>
              <a:ext uri="{FF2B5EF4-FFF2-40B4-BE49-F238E27FC236}">
                <a16:creationId xmlns:a16="http://schemas.microsoft.com/office/drawing/2014/main" id="{9312ED92-6AB0-0800-8456-CB8CA9CEEEDE}"/>
              </a:ext>
            </a:extLst>
          </p:cNvPr>
          <p:cNvSpPr>
            <a:spLocks/>
          </p:cNvSpPr>
          <p:nvPr/>
        </p:nvSpPr>
        <p:spPr>
          <a:xfrm>
            <a:off x="8613829" y="1862846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8" name="Oval 66~1">
            <a:extLst>
              <a:ext uri="{FF2B5EF4-FFF2-40B4-BE49-F238E27FC236}">
                <a16:creationId xmlns:a16="http://schemas.microsoft.com/office/drawing/2014/main" id="{27BE3B7C-F008-0F9F-9664-920BF4242F0E}"/>
              </a:ext>
            </a:extLst>
          </p:cNvPr>
          <p:cNvSpPr>
            <a:spLocks/>
          </p:cNvSpPr>
          <p:nvPr/>
        </p:nvSpPr>
        <p:spPr>
          <a:xfrm>
            <a:off x="9186835" y="1862846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9" name="Oval 66~2">
            <a:extLst>
              <a:ext uri="{FF2B5EF4-FFF2-40B4-BE49-F238E27FC236}">
                <a16:creationId xmlns:a16="http://schemas.microsoft.com/office/drawing/2014/main" id="{CFCB7EBF-868F-3A46-981E-8F3CB9BAF9AD}"/>
              </a:ext>
            </a:extLst>
          </p:cNvPr>
          <p:cNvSpPr>
            <a:spLocks/>
          </p:cNvSpPr>
          <p:nvPr/>
        </p:nvSpPr>
        <p:spPr>
          <a:xfrm>
            <a:off x="9728544" y="1862846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0" name="Oval 66~3">
            <a:extLst>
              <a:ext uri="{FF2B5EF4-FFF2-40B4-BE49-F238E27FC236}">
                <a16:creationId xmlns:a16="http://schemas.microsoft.com/office/drawing/2014/main" id="{95C29A2D-DDB6-F819-0FEB-10E17136CE22}"/>
              </a:ext>
            </a:extLst>
          </p:cNvPr>
          <p:cNvSpPr>
            <a:spLocks/>
          </p:cNvSpPr>
          <p:nvPr/>
        </p:nvSpPr>
        <p:spPr>
          <a:xfrm>
            <a:off x="10301549" y="1862846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1" name="Oval 66~4">
            <a:extLst>
              <a:ext uri="{FF2B5EF4-FFF2-40B4-BE49-F238E27FC236}">
                <a16:creationId xmlns:a16="http://schemas.microsoft.com/office/drawing/2014/main" id="{0DB4EB54-16E8-018F-0A1D-668709EC6486}"/>
              </a:ext>
            </a:extLst>
          </p:cNvPr>
          <p:cNvSpPr>
            <a:spLocks/>
          </p:cNvSpPr>
          <p:nvPr/>
        </p:nvSpPr>
        <p:spPr>
          <a:xfrm>
            <a:off x="10815652" y="1862846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3" name="Oval 66~6">
            <a:extLst>
              <a:ext uri="{FF2B5EF4-FFF2-40B4-BE49-F238E27FC236}">
                <a16:creationId xmlns:a16="http://schemas.microsoft.com/office/drawing/2014/main" id="{192A5A56-4D25-63E7-6BDB-3D576926EE8D}"/>
              </a:ext>
            </a:extLst>
          </p:cNvPr>
          <p:cNvSpPr>
            <a:spLocks/>
          </p:cNvSpPr>
          <p:nvPr/>
        </p:nvSpPr>
        <p:spPr>
          <a:xfrm>
            <a:off x="9186835" y="3004322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4" name="Oval 66~7">
            <a:extLst>
              <a:ext uri="{FF2B5EF4-FFF2-40B4-BE49-F238E27FC236}">
                <a16:creationId xmlns:a16="http://schemas.microsoft.com/office/drawing/2014/main" id="{C39AD275-6052-A936-4868-3389F8020410}"/>
              </a:ext>
            </a:extLst>
          </p:cNvPr>
          <p:cNvSpPr>
            <a:spLocks/>
          </p:cNvSpPr>
          <p:nvPr/>
        </p:nvSpPr>
        <p:spPr>
          <a:xfrm>
            <a:off x="9728544" y="3004322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5" name="Oval 66~8">
            <a:extLst>
              <a:ext uri="{FF2B5EF4-FFF2-40B4-BE49-F238E27FC236}">
                <a16:creationId xmlns:a16="http://schemas.microsoft.com/office/drawing/2014/main" id="{E29094F4-C651-7FCB-77FB-F4F0FA1A9025}"/>
              </a:ext>
            </a:extLst>
          </p:cNvPr>
          <p:cNvSpPr>
            <a:spLocks/>
          </p:cNvSpPr>
          <p:nvPr/>
        </p:nvSpPr>
        <p:spPr>
          <a:xfrm>
            <a:off x="10301549" y="3004322"/>
            <a:ext cx="389364" cy="1012168"/>
          </a:xfrm>
          <a:custGeom>
            <a:avLst/>
            <a:gdLst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  <a:gd name="connsiteX0" fmla="*/ 120667 w 558988"/>
              <a:gd name="connsiteY0" fmla="*/ 355644 h 1420433"/>
              <a:gd name="connsiteX1" fmla="*/ 438321 w 558988"/>
              <a:gd name="connsiteY1" fmla="*/ 355644 h 1420433"/>
              <a:gd name="connsiteX2" fmla="*/ 558988 w 558988"/>
              <a:gd name="connsiteY2" fmla="*/ 485743 h 1420433"/>
              <a:gd name="connsiteX3" fmla="*/ 558205 w 558988"/>
              <a:gd name="connsiteY3" fmla="*/ 494114 h 1420433"/>
              <a:gd name="connsiteX4" fmla="*/ 558988 w 558988"/>
              <a:gd name="connsiteY4" fmla="*/ 496004 h 1420433"/>
              <a:gd name="connsiteX5" fmla="*/ 558988 w 558988"/>
              <a:gd name="connsiteY5" fmla="*/ 518052 h 1420433"/>
              <a:gd name="connsiteX6" fmla="*/ 558988 w 558988"/>
              <a:gd name="connsiteY6" fmla="*/ 530528 h 1420433"/>
              <a:gd name="connsiteX7" fmla="*/ 558987 w 558988"/>
              <a:gd name="connsiteY7" fmla="*/ 848735 h 1420433"/>
              <a:gd name="connsiteX8" fmla="*/ 509998 w 558988"/>
              <a:gd name="connsiteY8" fmla="*/ 897724 h 1420433"/>
              <a:gd name="connsiteX9" fmla="*/ 509999 w 558988"/>
              <a:gd name="connsiteY9" fmla="*/ 897723 h 1420433"/>
              <a:gd name="connsiteX10" fmla="*/ 461010 w 558988"/>
              <a:gd name="connsiteY10" fmla="*/ 848734 h 1420433"/>
              <a:gd name="connsiteX11" fmla="*/ 461010 w 558988"/>
              <a:gd name="connsiteY11" fmla="*/ 570810 h 1420433"/>
              <a:gd name="connsiteX12" fmla="*/ 460593 w 558988"/>
              <a:gd name="connsiteY12" fmla="*/ 570810 h 1420433"/>
              <a:gd name="connsiteX13" fmla="*/ 460593 w 558988"/>
              <a:gd name="connsiteY13" fmla="*/ 568129 h 1420433"/>
              <a:gd name="connsiteX14" fmla="*/ 447090 w 558988"/>
              <a:gd name="connsiteY14" fmla="*/ 554626 h 1420433"/>
              <a:gd name="connsiteX15" fmla="*/ 445813 w 558988"/>
              <a:gd name="connsiteY15" fmla="*/ 554626 h 1420433"/>
              <a:gd name="connsiteX16" fmla="*/ 432310 w 558988"/>
              <a:gd name="connsiteY16" fmla="*/ 568129 h 1420433"/>
              <a:gd name="connsiteX17" fmla="*/ 432310 w 558988"/>
              <a:gd name="connsiteY17" fmla="*/ 1090710 h 1420433"/>
              <a:gd name="connsiteX18" fmla="*/ 434454 w 558988"/>
              <a:gd name="connsiteY18" fmla="*/ 1356669 h 1420433"/>
              <a:gd name="connsiteX19" fmla="*/ 370690 w 558988"/>
              <a:gd name="connsiteY19" fmla="*/ 1420433 h 1420433"/>
              <a:gd name="connsiteX20" fmla="*/ 364659 w 558988"/>
              <a:gd name="connsiteY20" fmla="*/ 1420433 h 1420433"/>
              <a:gd name="connsiteX21" fmla="*/ 300895 w 558988"/>
              <a:gd name="connsiteY21" fmla="*/ 1356669 h 1420433"/>
              <a:gd name="connsiteX22" fmla="*/ 300895 w 558988"/>
              <a:gd name="connsiteY22" fmla="*/ 857694 h 1420433"/>
              <a:gd name="connsiteX23" fmla="*/ 300681 w 558988"/>
              <a:gd name="connsiteY23" fmla="*/ 857694 h 1420433"/>
              <a:gd name="connsiteX24" fmla="*/ 300681 w 558988"/>
              <a:gd name="connsiteY24" fmla="*/ 856963 h 1420433"/>
              <a:gd name="connsiteX25" fmla="*/ 280409 w 558988"/>
              <a:gd name="connsiteY25" fmla="*/ 836691 h 1420433"/>
              <a:gd name="connsiteX26" fmla="*/ 278491 w 558988"/>
              <a:gd name="connsiteY26" fmla="*/ 836691 h 1420433"/>
              <a:gd name="connsiteX27" fmla="*/ 258219 w 558988"/>
              <a:gd name="connsiteY27" fmla="*/ 856963 h 1420433"/>
              <a:gd name="connsiteX28" fmla="*/ 258219 w 558988"/>
              <a:gd name="connsiteY28" fmla="*/ 857694 h 1420433"/>
              <a:gd name="connsiteX29" fmla="*/ 258093 w 558988"/>
              <a:gd name="connsiteY29" fmla="*/ 857694 h 1420433"/>
              <a:gd name="connsiteX30" fmla="*/ 258093 w 558988"/>
              <a:gd name="connsiteY30" fmla="*/ 1356669 h 1420433"/>
              <a:gd name="connsiteX31" fmla="*/ 194329 w 558988"/>
              <a:gd name="connsiteY31" fmla="*/ 1420433 h 1420433"/>
              <a:gd name="connsiteX32" fmla="*/ 188298 w 558988"/>
              <a:gd name="connsiteY32" fmla="*/ 1420433 h 1420433"/>
              <a:gd name="connsiteX33" fmla="*/ 124534 w 558988"/>
              <a:gd name="connsiteY33" fmla="*/ 1356669 h 1420433"/>
              <a:gd name="connsiteX34" fmla="*/ 124534 w 558988"/>
              <a:gd name="connsiteY34" fmla="*/ 570810 h 1420433"/>
              <a:gd name="connsiteX35" fmla="*/ 124450 w 558988"/>
              <a:gd name="connsiteY35" fmla="*/ 570810 h 1420433"/>
              <a:gd name="connsiteX36" fmla="*/ 124450 w 558988"/>
              <a:gd name="connsiteY36" fmla="*/ 568129 h 1420433"/>
              <a:gd name="connsiteX37" fmla="*/ 110947 w 558988"/>
              <a:gd name="connsiteY37" fmla="*/ 554626 h 1420433"/>
              <a:gd name="connsiteX38" fmla="*/ 109670 w 558988"/>
              <a:gd name="connsiteY38" fmla="*/ 554626 h 1420433"/>
              <a:gd name="connsiteX39" fmla="*/ 96167 w 558988"/>
              <a:gd name="connsiteY39" fmla="*/ 568129 h 1420433"/>
              <a:gd name="connsiteX40" fmla="*/ 96167 w 558988"/>
              <a:gd name="connsiteY40" fmla="*/ 857701 h 1420433"/>
              <a:gd name="connsiteX41" fmla="*/ 48988 w 558988"/>
              <a:gd name="connsiteY41" fmla="*/ 897724 h 1420433"/>
              <a:gd name="connsiteX42" fmla="*/ 48989 w 558988"/>
              <a:gd name="connsiteY42" fmla="*/ 897723 h 1420433"/>
              <a:gd name="connsiteX43" fmla="*/ 0 w 558988"/>
              <a:gd name="connsiteY43" fmla="*/ 848734 h 1420433"/>
              <a:gd name="connsiteX44" fmla="*/ 0 w 558988"/>
              <a:gd name="connsiteY44" fmla="*/ 530528 h 1420433"/>
              <a:gd name="connsiteX45" fmla="*/ 0 w 558988"/>
              <a:gd name="connsiteY45" fmla="*/ 518052 h 1420433"/>
              <a:gd name="connsiteX46" fmla="*/ 0 w 558988"/>
              <a:gd name="connsiteY46" fmla="*/ 496004 h 1420433"/>
              <a:gd name="connsiteX47" fmla="*/ 783 w 558988"/>
              <a:gd name="connsiteY47" fmla="*/ 494114 h 1420433"/>
              <a:gd name="connsiteX48" fmla="*/ 0 w 558988"/>
              <a:gd name="connsiteY48" fmla="*/ 485743 h 1420433"/>
              <a:gd name="connsiteX49" fmla="*/ 120667 w 558988"/>
              <a:gd name="connsiteY49" fmla="*/ 355644 h 1420433"/>
              <a:gd name="connsiteX50" fmla="*/ 279494 w 558988"/>
              <a:gd name="connsiteY50" fmla="*/ 0 h 1420433"/>
              <a:gd name="connsiteX51" fmla="*/ 436595 w 558988"/>
              <a:gd name="connsiteY51" fmla="*/ 157101 h 1420433"/>
              <a:gd name="connsiteX52" fmla="*/ 279494 w 558988"/>
              <a:gd name="connsiteY52" fmla="*/ 314202 h 1420433"/>
              <a:gd name="connsiteX53" fmla="*/ 122393 w 558988"/>
              <a:gd name="connsiteY53" fmla="*/ 157101 h 1420433"/>
              <a:gd name="connsiteX54" fmla="*/ 279494 w 558988"/>
              <a:gd name="connsiteY54" fmla="*/ 0 h 1420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58988" h="1420433">
                <a:moveTo>
                  <a:pt x="120667" y="355644"/>
                </a:moveTo>
                <a:lnTo>
                  <a:pt x="438321" y="355644"/>
                </a:lnTo>
                <a:cubicBezTo>
                  <a:pt x="504963" y="355644"/>
                  <a:pt x="558988" y="413891"/>
                  <a:pt x="558988" y="485743"/>
                </a:cubicBezTo>
                <a:lnTo>
                  <a:pt x="558205" y="494114"/>
                </a:lnTo>
                <a:cubicBezTo>
                  <a:pt x="558973" y="494717"/>
                  <a:pt x="558988" y="495359"/>
                  <a:pt x="558988" y="496004"/>
                </a:cubicBezTo>
                <a:lnTo>
                  <a:pt x="558988" y="518052"/>
                </a:lnTo>
                <a:lnTo>
                  <a:pt x="558988" y="530528"/>
                </a:lnTo>
                <a:cubicBezTo>
                  <a:pt x="558988" y="636598"/>
                  <a:pt x="558987" y="742666"/>
                  <a:pt x="558987" y="848735"/>
                </a:cubicBezTo>
                <a:cubicBezTo>
                  <a:pt x="558987" y="875791"/>
                  <a:pt x="537054" y="897724"/>
                  <a:pt x="509998" y="897724"/>
                </a:cubicBezTo>
                <a:lnTo>
                  <a:pt x="509999" y="897723"/>
                </a:lnTo>
                <a:cubicBezTo>
                  <a:pt x="482943" y="897723"/>
                  <a:pt x="461010" y="875790"/>
                  <a:pt x="461010" y="848734"/>
                </a:cubicBezTo>
                <a:lnTo>
                  <a:pt x="461010" y="570810"/>
                </a:lnTo>
                <a:lnTo>
                  <a:pt x="460593" y="570810"/>
                </a:lnTo>
                <a:lnTo>
                  <a:pt x="460593" y="568129"/>
                </a:lnTo>
                <a:cubicBezTo>
                  <a:pt x="460593" y="560671"/>
                  <a:pt x="454548" y="554626"/>
                  <a:pt x="447090" y="554626"/>
                </a:cubicBezTo>
                <a:lnTo>
                  <a:pt x="445813" y="554626"/>
                </a:lnTo>
                <a:cubicBezTo>
                  <a:pt x="438355" y="554626"/>
                  <a:pt x="432310" y="560671"/>
                  <a:pt x="432310" y="568129"/>
                </a:cubicBezTo>
                <a:lnTo>
                  <a:pt x="432310" y="1090710"/>
                </a:lnTo>
                <a:cubicBezTo>
                  <a:pt x="432667" y="1222133"/>
                  <a:pt x="435085" y="1294830"/>
                  <a:pt x="434454" y="1356669"/>
                </a:cubicBezTo>
                <a:cubicBezTo>
                  <a:pt x="434454" y="1391885"/>
                  <a:pt x="405906" y="1420433"/>
                  <a:pt x="370690" y="1420433"/>
                </a:cubicBezTo>
                <a:lnTo>
                  <a:pt x="364659" y="1420433"/>
                </a:lnTo>
                <a:cubicBezTo>
                  <a:pt x="329443" y="1420433"/>
                  <a:pt x="300895" y="1391885"/>
                  <a:pt x="300895" y="1356669"/>
                </a:cubicBezTo>
                <a:lnTo>
                  <a:pt x="300895" y="857694"/>
                </a:lnTo>
                <a:lnTo>
                  <a:pt x="300681" y="857694"/>
                </a:lnTo>
                <a:lnTo>
                  <a:pt x="300681" y="856963"/>
                </a:lnTo>
                <a:cubicBezTo>
                  <a:pt x="300681" y="845767"/>
                  <a:pt x="291605" y="836691"/>
                  <a:pt x="280409" y="836691"/>
                </a:cubicBezTo>
                <a:lnTo>
                  <a:pt x="278491" y="836691"/>
                </a:lnTo>
                <a:cubicBezTo>
                  <a:pt x="267295" y="836691"/>
                  <a:pt x="258219" y="845767"/>
                  <a:pt x="258219" y="856963"/>
                </a:cubicBezTo>
                <a:lnTo>
                  <a:pt x="258219" y="857694"/>
                </a:lnTo>
                <a:lnTo>
                  <a:pt x="258093" y="857694"/>
                </a:lnTo>
                <a:lnTo>
                  <a:pt x="258093" y="1356669"/>
                </a:lnTo>
                <a:cubicBezTo>
                  <a:pt x="258093" y="1391885"/>
                  <a:pt x="229545" y="1420433"/>
                  <a:pt x="194329" y="1420433"/>
                </a:cubicBezTo>
                <a:lnTo>
                  <a:pt x="188298" y="1420433"/>
                </a:lnTo>
                <a:cubicBezTo>
                  <a:pt x="153082" y="1420433"/>
                  <a:pt x="124534" y="1391885"/>
                  <a:pt x="124534" y="1356669"/>
                </a:cubicBezTo>
                <a:lnTo>
                  <a:pt x="124534" y="570810"/>
                </a:lnTo>
                <a:lnTo>
                  <a:pt x="124450" y="570810"/>
                </a:lnTo>
                <a:lnTo>
                  <a:pt x="124450" y="568129"/>
                </a:lnTo>
                <a:cubicBezTo>
                  <a:pt x="124450" y="560671"/>
                  <a:pt x="118405" y="554626"/>
                  <a:pt x="110947" y="554626"/>
                </a:cubicBezTo>
                <a:lnTo>
                  <a:pt x="109670" y="554626"/>
                </a:lnTo>
                <a:cubicBezTo>
                  <a:pt x="102212" y="554626"/>
                  <a:pt x="96167" y="560671"/>
                  <a:pt x="96167" y="568129"/>
                </a:cubicBezTo>
                <a:lnTo>
                  <a:pt x="96167" y="857701"/>
                </a:lnTo>
                <a:cubicBezTo>
                  <a:pt x="92841" y="880566"/>
                  <a:pt x="72918" y="897724"/>
                  <a:pt x="48988" y="897724"/>
                </a:cubicBezTo>
                <a:lnTo>
                  <a:pt x="48989" y="897723"/>
                </a:lnTo>
                <a:cubicBezTo>
                  <a:pt x="21933" y="897723"/>
                  <a:pt x="0" y="875790"/>
                  <a:pt x="0" y="848734"/>
                </a:cubicBezTo>
                <a:lnTo>
                  <a:pt x="0" y="530528"/>
                </a:lnTo>
                <a:lnTo>
                  <a:pt x="0" y="518052"/>
                </a:lnTo>
                <a:lnTo>
                  <a:pt x="0" y="496004"/>
                </a:lnTo>
                <a:lnTo>
                  <a:pt x="783" y="494114"/>
                </a:lnTo>
                <a:lnTo>
                  <a:pt x="0" y="485743"/>
                </a:lnTo>
                <a:cubicBezTo>
                  <a:pt x="1" y="413891"/>
                  <a:pt x="54025" y="355644"/>
                  <a:pt x="120667" y="355644"/>
                </a:cubicBezTo>
                <a:close/>
                <a:moveTo>
                  <a:pt x="279494" y="0"/>
                </a:moveTo>
                <a:cubicBezTo>
                  <a:pt x="366258" y="0"/>
                  <a:pt x="436595" y="70337"/>
                  <a:pt x="436595" y="157101"/>
                </a:cubicBezTo>
                <a:cubicBezTo>
                  <a:pt x="436595" y="243865"/>
                  <a:pt x="366258" y="314202"/>
                  <a:pt x="279494" y="314202"/>
                </a:cubicBezTo>
                <a:cubicBezTo>
                  <a:pt x="192730" y="314202"/>
                  <a:pt x="122393" y="243865"/>
                  <a:pt x="122393" y="157101"/>
                </a:cubicBezTo>
                <a:cubicBezTo>
                  <a:pt x="122393" y="70337"/>
                  <a:pt x="192730" y="0"/>
                  <a:pt x="279494" y="0"/>
                </a:cubicBezTo>
                <a:close/>
              </a:path>
            </a:pathLst>
          </a:cu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90541" tIns="45270" rIns="90541" bIns="45270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de-DE" sz="1782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6C0E21-B1D3-ADFC-038E-6E560606006E}"/>
              </a:ext>
            </a:extLst>
          </p:cNvPr>
          <p:cNvSpPr/>
          <p:nvPr/>
        </p:nvSpPr>
        <p:spPr>
          <a:xfrm>
            <a:off x="10900903" y="3004798"/>
            <a:ext cx="107117" cy="222938"/>
          </a:xfrm>
          <a:custGeom>
            <a:avLst/>
            <a:gdLst>
              <a:gd name="connsiteX0" fmla="*/ 64575 w 64575"/>
              <a:gd name="connsiteY0" fmla="*/ 0 h 134398"/>
              <a:gd name="connsiteX1" fmla="*/ 64575 w 64575"/>
              <a:gd name="connsiteY1" fmla="*/ 134398 h 134398"/>
              <a:gd name="connsiteX2" fmla="*/ 40292 w 64575"/>
              <a:gd name="connsiteY2" fmla="*/ 129383 h 134398"/>
              <a:gd name="connsiteX3" fmla="*/ 0 w 64575"/>
              <a:gd name="connsiteY3" fmla="*/ 67199 h 134398"/>
              <a:gd name="connsiteX4" fmla="*/ 40292 w 64575"/>
              <a:gd name="connsiteY4" fmla="*/ 5015 h 134398"/>
              <a:gd name="connsiteX5" fmla="*/ 64575 w 64575"/>
              <a:gd name="connsiteY5" fmla="*/ 0 h 13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575" h="134398">
                <a:moveTo>
                  <a:pt x="64575" y="0"/>
                </a:moveTo>
                <a:lnTo>
                  <a:pt x="64575" y="134398"/>
                </a:lnTo>
                <a:lnTo>
                  <a:pt x="40292" y="129383"/>
                </a:lnTo>
                <a:cubicBezTo>
                  <a:pt x="16614" y="119138"/>
                  <a:pt x="0" y="95153"/>
                  <a:pt x="0" y="67199"/>
                </a:cubicBezTo>
                <a:cubicBezTo>
                  <a:pt x="0" y="39245"/>
                  <a:pt x="16614" y="15261"/>
                  <a:pt x="40292" y="5015"/>
                </a:cubicBezTo>
                <a:lnTo>
                  <a:pt x="64575" y="0"/>
                </a:ln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en-IN" sz="1360" dirty="0">
              <a:solidFill>
                <a:srgbClr val="FFFFFF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4897FEE-25A1-7352-9AB3-711DB45603DF}"/>
              </a:ext>
            </a:extLst>
          </p:cNvPr>
          <p:cNvSpPr/>
          <p:nvPr/>
        </p:nvSpPr>
        <p:spPr>
          <a:xfrm>
            <a:off x="10815653" y="3257743"/>
            <a:ext cx="192371" cy="758745"/>
          </a:xfrm>
          <a:custGeom>
            <a:avLst/>
            <a:gdLst>
              <a:gd name="connsiteX0" fmla="*/ 50670 w 115970"/>
              <a:gd name="connsiteY0" fmla="*/ 0 h 457410"/>
              <a:gd name="connsiteX1" fmla="*/ 115970 w 115970"/>
              <a:gd name="connsiteY1" fmla="*/ 0 h 457410"/>
              <a:gd name="connsiteX2" fmla="*/ 115970 w 115970"/>
              <a:gd name="connsiteY2" fmla="*/ 207644 h 457410"/>
              <a:gd name="connsiteX3" fmla="*/ 108431 w 115970"/>
              <a:gd name="connsiteY3" fmla="*/ 215356 h 457410"/>
              <a:gd name="connsiteX4" fmla="*/ 108431 w 115970"/>
              <a:gd name="connsiteY4" fmla="*/ 215670 h 457410"/>
              <a:gd name="connsiteX5" fmla="*/ 108378 w 115970"/>
              <a:gd name="connsiteY5" fmla="*/ 215670 h 457410"/>
              <a:gd name="connsiteX6" fmla="*/ 108378 w 115970"/>
              <a:gd name="connsiteY6" fmla="*/ 430019 h 457410"/>
              <a:gd name="connsiteX7" fmla="*/ 81602 w 115970"/>
              <a:gd name="connsiteY7" fmla="*/ 457410 h 457410"/>
              <a:gd name="connsiteX8" fmla="*/ 79070 w 115970"/>
              <a:gd name="connsiteY8" fmla="*/ 457410 h 457410"/>
              <a:gd name="connsiteX9" fmla="*/ 52294 w 115970"/>
              <a:gd name="connsiteY9" fmla="*/ 430019 h 457410"/>
              <a:gd name="connsiteX10" fmla="*/ 52294 w 115970"/>
              <a:gd name="connsiteY10" fmla="*/ 92431 h 457410"/>
              <a:gd name="connsiteX11" fmla="*/ 52259 w 115970"/>
              <a:gd name="connsiteY11" fmla="*/ 92431 h 457410"/>
              <a:gd name="connsiteX12" fmla="*/ 52259 w 115970"/>
              <a:gd name="connsiteY12" fmla="*/ 91279 h 457410"/>
              <a:gd name="connsiteX13" fmla="*/ 46589 w 115970"/>
              <a:gd name="connsiteY13" fmla="*/ 85478 h 457410"/>
              <a:gd name="connsiteX14" fmla="*/ 46053 w 115970"/>
              <a:gd name="connsiteY14" fmla="*/ 85478 h 457410"/>
              <a:gd name="connsiteX15" fmla="*/ 40382 w 115970"/>
              <a:gd name="connsiteY15" fmla="*/ 91279 h 457410"/>
              <a:gd name="connsiteX16" fmla="*/ 40382 w 115970"/>
              <a:gd name="connsiteY16" fmla="*/ 215673 h 457410"/>
              <a:gd name="connsiteX17" fmla="*/ 20571 w 115970"/>
              <a:gd name="connsiteY17" fmla="*/ 232866 h 457410"/>
              <a:gd name="connsiteX18" fmla="*/ 20572 w 115970"/>
              <a:gd name="connsiteY18" fmla="*/ 232865 h 457410"/>
              <a:gd name="connsiteX19" fmla="*/ 0 w 115970"/>
              <a:gd name="connsiteY19" fmla="*/ 211821 h 457410"/>
              <a:gd name="connsiteX20" fmla="*/ 0 w 115970"/>
              <a:gd name="connsiteY20" fmla="*/ 75126 h 457410"/>
              <a:gd name="connsiteX21" fmla="*/ 0 w 115970"/>
              <a:gd name="connsiteY21" fmla="*/ 69767 h 457410"/>
              <a:gd name="connsiteX22" fmla="*/ 0 w 115970"/>
              <a:gd name="connsiteY22" fmla="*/ 60296 h 457410"/>
              <a:gd name="connsiteX23" fmla="*/ 329 w 115970"/>
              <a:gd name="connsiteY23" fmla="*/ 59484 h 457410"/>
              <a:gd name="connsiteX24" fmla="*/ 0 w 115970"/>
              <a:gd name="connsiteY24" fmla="*/ 55888 h 457410"/>
              <a:gd name="connsiteX25" fmla="*/ 50670 w 115970"/>
              <a:gd name="connsiteY25" fmla="*/ 0 h 45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5970" h="457410">
                <a:moveTo>
                  <a:pt x="50670" y="0"/>
                </a:moveTo>
                <a:lnTo>
                  <a:pt x="115970" y="0"/>
                </a:lnTo>
                <a:lnTo>
                  <a:pt x="115970" y="207644"/>
                </a:lnTo>
                <a:lnTo>
                  <a:pt x="108431" y="215356"/>
                </a:lnTo>
                <a:lnTo>
                  <a:pt x="108431" y="215670"/>
                </a:lnTo>
                <a:lnTo>
                  <a:pt x="108378" y="215670"/>
                </a:lnTo>
                <a:lnTo>
                  <a:pt x="108378" y="430019"/>
                </a:lnTo>
                <a:cubicBezTo>
                  <a:pt x="108378" y="445147"/>
                  <a:pt x="96390" y="457410"/>
                  <a:pt x="81602" y="457410"/>
                </a:cubicBezTo>
                <a:lnTo>
                  <a:pt x="79070" y="457410"/>
                </a:lnTo>
                <a:cubicBezTo>
                  <a:pt x="64282" y="457410"/>
                  <a:pt x="52294" y="445147"/>
                  <a:pt x="52294" y="430019"/>
                </a:cubicBezTo>
                <a:lnTo>
                  <a:pt x="52294" y="92431"/>
                </a:lnTo>
                <a:lnTo>
                  <a:pt x="52259" y="92431"/>
                </a:lnTo>
                <a:lnTo>
                  <a:pt x="52259" y="91279"/>
                </a:lnTo>
                <a:cubicBezTo>
                  <a:pt x="52259" y="88075"/>
                  <a:pt x="49721" y="85478"/>
                  <a:pt x="46589" y="85478"/>
                </a:cubicBezTo>
                <a:lnTo>
                  <a:pt x="46053" y="85478"/>
                </a:lnTo>
                <a:cubicBezTo>
                  <a:pt x="42921" y="85478"/>
                  <a:pt x="40382" y="88075"/>
                  <a:pt x="40382" y="91279"/>
                </a:cubicBezTo>
                <a:lnTo>
                  <a:pt x="40382" y="215673"/>
                </a:lnTo>
                <a:cubicBezTo>
                  <a:pt x="38986" y="225495"/>
                  <a:pt x="30620" y="232866"/>
                  <a:pt x="20571" y="232866"/>
                </a:cubicBezTo>
                <a:lnTo>
                  <a:pt x="20572" y="232865"/>
                </a:lnTo>
                <a:cubicBezTo>
                  <a:pt x="9210" y="232865"/>
                  <a:pt x="0" y="223443"/>
                  <a:pt x="0" y="211821"/>
                </a:cubicBezTo>
                <a:lnTo>
                  <a:pt x="0" y="75126"/>
                </a:lnTo>
                <a:lnTo>
                  <a:pt x="0" y="69767"/>
                </a:lnTo>
                <a:lnTo>
                  <a:pt x="0" y="60296"/>
                </a:lnTo>
                <a:lnTo>
                  <a:pt x="329" y="59484"/>
                </a:lnTo>
                <a:lnTo>
                  <a:pt x="0" y="55888"/>
                </a:lnTo>
                <a:cubicBezTo>
                  <a:pt x="1" y="25022"/>
                  <a:pt x="22686" y="0"/>
                  <a:pt x="50670" y="0"/>
                </a:cubicBez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en-IN" sz="1360" dirty="0">
              <a:solidFill>
                <a:srgbClr val="FFFFFF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C289848-09BB-3D3A-3A5C-C95139B11C9F}"/>
              </a:ext>
            </a:extLst>
          </p:cNvPr>
          <p:cNvSpPr/>
          <p:nvPr/>
        </p:nvSpPr>
        <p:spPr>
          <a:xfrm>
            <a:off x="11008021" y="3004323"/>
            <a:ext cx="111742" cy="223893"/>
          </a:xfrm>
          <a:custGeom>
            <a:avLst/>
            <a:gdLst>
              <a:gd name="connsiteX0" fmla="*/ 1395 w 67364"/>
              <a:gd name="connsiteY0" fmla="*/ 0 h 134974"/>
              <a:gd name="connsiteX1" fmla="*/ 67364 w 67364"/>
              <a:gd name="connsiteY1" fmla="*/ 67487 h 134974"/>
              <a:gd name="connsiteX2" fmla="*/ 1395 w 67364"/>
              <a:gd name="connsiteY2" fmla="*/ 134974 h 134974"/>
              <a:gd name="connsiteX3" fmla="*/ 0 w 67364"/>
              <a:gd name="connsiteY3" fmla="*/ 134686 h 134974"/>
              <a:gd name="connsiteX4" fmla="*/ 0 w 67364"/>
              <a:gd name="connsiteY4" fmla="*/ 288 h 134974"/>
              <a:gd name="connsiteX5" fmla="*/ 1395 w 67364"/>
              <a:gd name="connsiteY5" fmla="*/ 0 h 134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364" h="134974">
                <a:moveTo>
                  <a:pt x="1395" y="0"/>
                </a:moveTo>
                <a:cubicBezTo>
                  <a:pt x="37828" y="0"/>
                  <a:pt x="67364" y="30215"/>
                  <a:pt x="67364" y="67487"/>
                </a:cubicBezTo>
                <a:cubicBezTo>
                  <a:pt x="67364" y="104759"/>
                  <a:pt x="37828" y="134974"/>
                  <a:pt x="1395" y="134974"/>
                </a:cubicBezTo>
                <a:lnTo>
                  <a:pt x="0" y="134686"/>
                </a:lnTo>
                <a:lnTo>
                  <a:pt x="0" y="288"/>
                </a:lnTo>
                <a:lnTo>
                  <a:pt x="1395" y="0"/>
                </a:ln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en-IN" sz="1360" dirty="0">
              <a:solidFill>
                <a:srgbClr val="FFFFFF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A94A38D-3428-BC21-286C-8A00038136A2}"/>
              </a:ext>
            </a:extLst>
          </p:cNvPr>
          <p:cNvSpPr/>
          <p:nvPr/>
        </p:nvSpPr>
        <p:spPr>
          <a:xfrm>
            <a:off x="11008020" y="3257743"/>
            <a:ext cx="196994" cy="758745"/>
          </a:xfrm>
          <a:custGeom>
            <a:avLst/>
            <a:gdLst>
              <a:gd name="connsiteX0" fmla="*/ 0 w 118759"/>
              <a:gd name="connsiteY0" fmla="*/ 0 h 457410"/>
              <a:gd name="connsiteX1" fmla="*/ 68089 w 118759"/>
              <a:gd name="connsiteY1" fmla="*/ 0 h 457410"/>
              <a:gd name="connsiteX2" fmla="*/ 118759 w 118759"/>
              <a:gd name="connsiteY2" fmla="*/ 55888 h 457410"/>
              <a:gd name="connsiteX3" fmla="*/ 118430 w 118759"/>
              <a:gd name="connsiteY3" fmla="*/ 59484 h 457410"/>
              <a:gd name="connsiteX4" fmla="*/ 118759 w 118759"/>
              <a:gd name="connsiteY4" fmla="*/ 60296 h 457410"/>
              <a:gd name="connsiteX5" fmla="*/ 118759 w 118759"/>
              <a:gd name="connsiteY5" fmla="*/ 69767 h 457410"/>
              <a:gd name="connsiteX6" fmla="*/ 118759 w 118759"/>
              <a:gd name="connsiteY6" fmla="*/ 75126 h 457410"/>
              <a:gd name="connsiteX7" fmla="*/ 118759 w 118759"/>
              <a:gd name="connsiteY7" fmla="*/ 211821 h 457410"/>
              <a:gd name="connsiteX8" fmla="*/ 98187 w 118759"/>
              <a:gd name="connsiteY8" fmla="*/ 232866 h 457410"/>
              <a:gd name="connsiteX9" fmla="*/ 98188 w 118759"/>
              <a:gd name="connsiteY9" fmla="*/ 232865 h 457410"/>
              <a:gd name="connsiteX10" fmla="*/ 77617 w 118759"/>
              <a:gd name="connsiteY10" fmla="*/ 211821 h 457410"/>
              <a:gd name="connsiteX11" fmla="*/ 77617 w 118759"/>
              <a:gd name="connsiteY11" fmla="*/ 92431 h 457410"/>
              <a:gd name="connsiteX12" fmla="*/ 77441 w 118759"/>
              <a:gd name="connsiteY12" fmla="*/ 92431 h 457410"/>
              <a:gd name="connsiteX13" fmla="*/ 77441 w 118759"/>
              <a:gd name="connsiteY13" fmla="*/ 91279 h 457410"/>
              <a:gd name="connsiteX14" fmla="*/ 71771 w 118759"/>
              <a:gd name="connsiteY14" fmla="*/ 85478 h 457410"/>
              <a:gd name="connsiteX15" fmla="*/ 71235 w 118759"/>
              <a:gd name="connsiteY15" fmla="*/ 85478 h 457410"/>
              <a:gd name="connsiteX16" fmla="*/ 65565 w 118759"/>
              <a:gd name="connsiteY16" fmla="*/ 91279 h 457410"/>
              <a:gd name="connsiteX17" fmla="*/ 65565 w 118759"/>
              <a:gd name="connsiteY17" fmla="*/ 315768 h 457410"/>
              <a:gd name="connsiteX18" fmla="*/ 66465 w 118759"/>
              <a:gd name="connsiteY18" fmla="*/ 430019 h 457410"/>
              <a:gd name="connsiteX19" fmla="*/ 39690 w 118759"/>
              <a:gd name="connsiteY19" fmla="*/ 457410 h 457410"/>
              <a:gd name="connsiteX20" fmla="*/ 37157 w 118759"/>
              <a:gd name="connsiteY20" fmla="*/ 457410 h 457410"/>
              <a:gd name="connsiteX21" fmla="*/ 10381 w 118759"/>
              <a:gd name="connsiteY21" fmla="*/ 430019 h 457410"/>
              <a:gd name="connsiteX22" fmla="*/ 10381 w 118759"/>
              <a:gd name="connsiteY22" fmla="*/ 215670 h 457410"/>
              <a:gd name="connsiteX23" fmla="*/ 10292 w 118759"/>
              <a:gd name="connsiteY23" fmla="*/ 215670 h 457410"/>
              <a:gd name="connsiteX24" fmla="*/ 10292 w 118759"/>
              <a:gd name="connsiteY24" fmla="*/ 215356 h 457410"/>
              <a:gd name="connsiteX25" fmla="*/ 1779 w 118759"/>
              <a:gd name="connsiteY25" fmla="*/ 206647 h 457410"/>
              <a:gd name="connsiteX26" fmla="*/ 974 w 118759"/>
              <a:gd name="connsiteY26" fmla="*/ 206647 h 457410"/>
              <a:gd name="connsiteX27" fmla="*/ 0 w 118759"/>
              <a:gd name="connsiteY27" fmla="*/ 207644 h 457410"/>
              <a:gd name="connsiteX28" fmla="*/ 0 w 118759"/>
              <a:gd name="connsiteY28" fmla="*/ 0 h 45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8759" h="457410">
                <a:moveTo>
                  <a:pt x="0" y="0"/>
                </a:moveTo>
                <a:lnTo>
                  <a:pt x="68089" y="0"/>
                </a:lnTo>
                <a:cubicBezTo>
                  <a:pt x="96073" y="0"/>
                  <a:pt x="118759" y="25022"/>
                  <a:pt x="118759" y="55888"/>
                </a:cubicBezTo>
                <a:lnTo>
                  <a:pt x="118430" y="59484"/>
                </a:lnTo>
                <a:cubicBezTo>
                  <a:pt x="118753" y="59743"/>
                  <a:pt x="118759" y="60019"/>
                  <a:pt x="118759" y="60296"/>
                </a:cubicBezTo>
                <a:lnTo>
                  <a:pt x="118759" y="69767"/>
                </a:lnTo>
                <a:lnTo>
                  <a:pt x="118759" y="75126"/>
                </a:lnTo>
                <a:cubicBezTo>
                  <a:pt x="118759" y="120692"/>
                  <a:pt x="118759" y="166256"/>
                  <a:pt x="118759" y="211821"/>
                </a:cubicBezTo>
                <a:cubicBezTo>
                  <a:pt x="118759" y="223444"/>
                  <a:pt x="109549" y="232866"/>
                  <a:pt x="98187" y="232866"/>
                </a:cubicBezTo>
                <a:lnTo>
                  <a:pt x="98188" y="232865"/>
                </a:lnTo>
                <a:cubicBezTo>
                  <a:pt x="86827" y="232865"/>
                  <a:pt x="77617" y="223443"/>
                  <a:pt x="77617" y="211821"/>
                </a:cubicBezTo>
                <a:lnTo>
                  <a:pt x="77617" y="92431"/>
                </a:lnTo>
                <a:lnTo>
                  <a:pt x="77441" y="92431"/>
                </a:lnTo>
                <a:lnTo>
                  <a:pt x="77441" y="91279"/>
                </a:lnTo>
                <a:cubicBezTo>
                  <a:pt x="77441" y="88075"/>
                  <a:pt x="74903" y="85478"/>
                  <a:pt x="71771" y="85478"/>
                </a:cubicBezTo>
                <a:lnTo>
                  <a:pt x="71235" y="85478"/>
                </a:lnTo>
                <a:cubicBezTo>
                  <a:pt x="68103" y="85478"/>
                  <a:pt x="65565" y="88075"/>
                  <a:pt x="65565" y="91279"/>
                </a:cubicBezTo>
                <a:lnTo>
                  <a:pt x="65565" y="315768"/>
                </a:lnTo>
                <a:cubicBezTo>
                  <a:pt x="65715" y="372225"/>
                  <a:pt x="66730" y="403454"/>
                  <a:pt x="66465" y="430019"/>
                </a:cubicBezTo>
                <a:cubicBezTo>
                  <a:pt x="66465" y="445147"/>
                  <a:pt x="54477" y="457410"/>
                  <a:pt x="39690" y="457410"/>
                </a:cubicBezTo>
                <a:lnTo>
                  <a:pt x="37157" y="457410"/>
                </a:lnTo>
                <a:cubicBezTo>
                  <a:pt x="22369" y="457410"/>
                  <a:pt x="10381" y="445147"/>
                  <a:pt x="10381" y="430019"/>
                </a:cubicBezTo>
                <a:lnTo>
                  <a:pt x="10381" y="215670"/>
                </a:lnTo>
                <a:lnTo>
                  <a:pt x="10292" y="215670"/>
                </a:lnTo>
                <a:lnTo>
                  <a:pt x="10292" y="215356"/>
                </a:lnTo>
                <a:cubicBezTo>
                  <a:pt x="10292" y="210546"/>
                  <a:pt x="6480" y="206647"/>
                  <a:pt x="1779" y="206647"/>
                </a:cubicBezTo>
                <a:lnTo>
                  <a:pt x="974" y="206647"/>
                </a:lnTo>
                <a:lnTo>
                  <a:pt x="0" y="20764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buClr>
                <a:srgbClr val="000000"/>
              </a:buClr>
              <a:defRPr/>
            </a:pPr>
            <a:endParaRPr lang="en-IN" sz="1360" dirty="0">
              <a:solidFill>
                <a:srgbClr val="FFFFFF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73D2F8-4057-89EE-1910-BCF6D0EDE578}"/>
              </a:ext>
            </a:extLst>
          </p:cNvPr>
          <p:cNvSpPr txBox="1"/>
          <p:nvPr/>
        </p:nvSpPr>
        <p:spPr>
          <a:xfrm>
            <a:off x="8613828" y="4992621"/>
            <a:ext cx="1865387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90%</a:t>
            </a:r>
            <a:endParaRPr lang="en-IN" sz="1537" b="1" baseline="300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1" name="Shape0_20210705_191712">
            <a:extLst>
              <a:ext uri="{FF2B5EF4-FFF2-40B4-BE49-F238E27FC236}">
                <a16:creationId xmlns:a16="http://schemas.microsoft.com/office/drawing/2014/main" id="{38622A83-7BF7-6AA9-A15B-4EEA1C5333D0}"/>
              </a:ext>
            </a:extLst>
          </p:cNvPr>
          <p:cNvCxnSpPr>
            <a:cxnSpLocks/>
          </p:cNvCxnSpPr>
          <p:nvPr/>
        </p:nvCxnSpPr>
        <p:spPr>
          <a:xfrm flipH="1">
            <a:off x="534739" y="3662224"/>
            <a:ext cx="7024020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</p:cxnSp>
      <p:cxnSp>
        <p:nvCxnSpPr>
          <p:cNvPr id="22" name="Shape1_20210705_191712">
            <a:extLst>
              <a:ext uri="{FF2B5EF4-FFF2-40B4-BE49-F238E27FC236}">
                <a16:creationId xmlns:a16="http://schemas.microsoft.com/office/drawing/2014/main" id="{D283F1DC-5B19-038A-FC21-2936BEEAD0D9}"/>
              </a:ext>
            </a:extLst>
          </p:cNvPr>
          <p:cNvCxnSpPr>
            <a:cxnSpLocks/>
          </p:cNvCxnSpPr>
          <p:nvPr/>
        </p:nvCxnSpPr>
        <p:spPr>
          <a:xfrm>
            <a:off x="4047187" y="1464422"/>
            <a:ext cx="0" cy="2005723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</p:cxnSp>
      <p:cxnSp>
        <p:nvCxnSpPr>
          <p:cNvPr id="23" name="Shape2_20210705_191712">
            <a:extLst>
              <a:ext uri="{FF2B5EF4-FFF2-40B4-BE49-F238E27FC236}">
                <a16:creationId xmlns:a16="http://schemas.microsoft.com/office/drawing/2014/main" id="{00057E0B-737C-57F1-0042-00DE8A211124}"/>
              </a:ext>
            </a:extLst>
          </p:cNvPr>
          <p:cNvCxnSpPr>
            <a:cxnSpLocks/>
          </p:cNvCxnSpPr>
          <p:nvPr/>
        </p:nvCxnSpPr>
        <p:spPr>
          <a:xfrm>
            <a:off x="8185448" y="1464421"/>
            <a:ext cx="0" cy="4567834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</p:cxnSp>
      <p:cxnSp>
        <p:nvCxnSpPr>
          <p:cNvPr id="24" name="Shape3_20210705_191712">
            <a:extLst>
              <a:ext uri="{FF2B5EF4-FFF2-40B4-BE49-F238E27FC236}">
                <a16:creationId xmlns:a16="http://schemas.microsoft.com/office/drawing/2014/main" id="{975DF1E8-F815-AF11-19E4-10CD38478461}"/>
              </a:ext>
            </a:extLst>
          </p:cNvPr>
          <p:cNvCxnSpPr>
            <a:cxnSpLocks/>
          </p:cNvCxnSpPr>
          <p:nvPr/>
        </p:nvCxnSpPr>
        <p:spPr>
          <a:xfrm>
            <a:off x="4047187" y="3863356"/>
            <a:ext cx="0" cy="2168901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28DDF43-D17F-7FC7-C4BB-93AE156742E5}"/>
              </a:ext>
            </a:extLst>
          </p:cNvPr>
          <p:cNvSpPr txBox="1"/>
          <p:nvPr/>
        </p:nvSpPr>
        <p:spPr>
          <a:xfrm>
            <a:off x="1778648" y="4044723"/>
            <a:ext cx="1991815" cy="491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7E6F22-657B-931F-5462-65DF3AB26747}"/>
              </a:ext>
            </a:extLst>
          </p:cNvPr>
          <p:cNvSpPr txBox="1"/>
          <p:nvPr/>
        </p:nvSpPr>
        <p:spPr>
          <a:xfrm>
            <a:off x="662208" y="2046964"/>
            <a:ext cx="1866199" cy="47307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2E278-2279-7A64-F135-EADF2F277603}"/>
              </a:ext>
            </a:extLst>
          </p:cNvPr>
          <p:cNvSpPr txBox="1"/>
          <p:nvPr/>
        </p:nvSpPr>
        <p:spPr>
          <a:xfrm>
            <a:off x="662208" y="2691284"/>
            <a:ext cx="1632968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1CD4125-4C8A-E643-7C22-1ACCA426E7E8}"/>
              </a:ext>
            </a:extLst>
          </p:cNvPr>
          <p:cNvSpPr txBox="1"/>
          <p:nvPr/>
        </p:nvSpPr>
        <p:spPr>
          <a:xfrm>
            <a:off x="796117" y="5121527"/>
            <a:ext cx="2446155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B9B8F61-42ED-673D-5A6C-9805272059DF}"/>
              </a:ext>
            </a:extLst>
          </p:cNvPr>
          <p:cNvSpPr txBox="1"/>
          <p:nvPr/>
        </p:nvSpPr>
        <p:spPr>
          <a:xfrm>
            <a:off x="796117" y="5484253"/>
            <a:ext cx="2446155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484963F-80C3-825A-2101-8660010525C6}"/>
              </a:ext>
            </a:extLst>
          </p:cNvPr>
          <p:cNvGrpSpPr/>
          <p:nvPr/>
        </p:nvGrpSpPr>
        <p:grpSpPr>
          <a:xfrm>
            <a:off x="3008344" y="1968732"/>
            <a:ext cx="610470" cy="610470"/>
            <a:chOff x="5088633" y="2712018"/>
            <a:chExt cx="1032614" cy="1032614"/>
          </a:xfrm>
        </p:grpSpPr>
        <p:sp>
          <p:nvSpPr>
            <p:cNvPr id="31" name="Freeform 1030">
              <a:extLst>
                <a:ext uri="{FF2B5EF4-FFF2-40B4-BE49-F238E27FC236}">
                  <a16:creationId xmlns:a16="http://schemas.microsoft.com/office/drawing/2014/main" id="{7C8B9AE1-64B5-D916-458D-362EF9CE1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8633" y="2712018"/>
              <a:ext cx="1032614" cy="1032614"/>
            </a:xfrm>
            <a:custGeom>
              <a:avLst/>
              <a:gdLst>
                <a:gd name="T0" fmla="*/ 165 w 331"/>
                <a:gd name="T1" fmla="*/ 331 h 331"/>
                <a:gd name="T2" fmla="*/ 0 w 331"/>
                <a:gd name="T3" fmla="*/ 165 h 331"/>
                <a:gd name="T4" fmla="*/ 165 w 331"/>
                <a:gd name="T5" fmla="*/ 0 h 331"/>
                <a:gd name="T6" fmla="*/ 331 w 331"/>
                <a:gd name="T7" fmla="*/ 165 h 331"/>
                <a:gd name="T8" fmla="*/ 165 w 331"/>
                <a:gd name="T9" fmla="*/ 331 h 331"/>
                <a:gd name="T10" fmla="*/ 165 w 331"/>
                <a:gd name="T11" fmla="*/ 11 h 331"/>
                <a:gd name="T12" fmla="*/ 11 w 331"/>
                <a:gd name="T13" fmla="*/ 165 h 331"/>
                <a:gd name="T14" fmla="*/ 165 w 331"/>
                <a:gd name="T15" fmla="*/ 320 h 331"/>
                <a:gd name="T16" fmla="*/ 320 w 331"/>
                <a:gd name="T17" fmla="*/ 165 h 331"/>
                <a:gd name="T18" fmla="*/ 165 w 331"/>
                <a:gd name="T19" fmla="*/ 1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1" h="331">
                  <a:moveTo>
                    <a:pt x="165" y="331"/>
                  </a:moveTo>
                  <a:cubicBezTo>
                    <a:pt x="74" y="331"/>
                    <a:pt x="0" y="257"/>
                    <a:pt x="0" y="165"/>
                  </a:cubicBezTo>
                  <a:cubicBezTo>
                    <a:pt x="0" y="74"/>
                    <a:pt x="74" y="0"/>
                    <a:pt x="165" y="0"/>
                  </a:cubicBezTo>
                  <a:cubicBezTo>
                    <a:pt x="257" y="0"/>
                    <a:pt x="331" y="74"/>
                    <a:pt x="331" y="165"/>
                  </a:cubicBezTo>
                  <a:cubicBezTo>
                    <a:pt x="331" y="257"/>
                    <a:pt x="257" y="331"/>
                    <a:pt x="165" y="331"/>
                  </a:cubicBezTo>
                  <a:close/>
                  <a:moveTo>
                    <a:pt x="165" y="11"/>
                  </a:moveTo>
                  <a:cubicBezTo>
                    <a:pt x="80" y="11"/>
                    <a:pt x="11" y="80"/>
                    <a:pt x="11" y="165"/>
                  </a:cubicBezTo>
                  <a:cubicBezTo>
                    <a:pt x="11" y="250"/>
                    <a:pt x="80" y="320"/>
                    <a:pt x="165" y="320"/>
                  </a:cubicBezTo>
                  <a:cubicBezTo>
                    <a:pt x="251" y="320"/>
                    <a:pt x="320" y="250"/>
                    <a:pt x="320" y="165"/>
                  </a:cubicBezTo>
                  <a:cubicBezTo>
                    <a:pt x="320" y="80"/>
                    <a:pt x="251" y="11"/>
                    <a:pt x="165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2" name="Freeform 1031">
              <a:extLst>
                <a:ext uri="{FF2B5EF4-FFF2-40B4-BE49-F238E27FC236}">
                  <a16:creationId xmlns:a16="http://schemas.microsoft.com/office/drawing/2014/main" id="{EE9C43A9-D4CE-A8A1-3346-F51F73C6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662" y="2850017"/>
              <a:ext cx="723304" cy="171309"/>
            </a:xfrm>
            <a:custGeom>
              <a:avLst/>
              <a:gdLst>
                <a:gd name="T0" fmla="*/ 115 w 232"/>
                <a:gd name="T1" fmla="*/ 55 h 55"/>
                <a:gd name="T2" fmla="*/ 2 w 232"/>
                <a:gd name="T3" fmla="*/ 11 h 55"/>
                <a:gd name="T4" fmla="*/ 2 w 232"/>
                <a:gd name="T5" fmla="*/ 3 h 55"/>
                <a:gd name="T6" fmla="*/ 10 w 232"/>
                <a:gd name="T7" fmla="*/ 3 h 55"/>
                <a:gd name="T8" fmla="*/ 115 w 232"/>
                <a:gd name="T9" fmla="*/ 45 h 55"/>
                <a:gd name="T10" fmla="*/ 222 w 232"/>
                <a:gd name="T11" fmla="*/ 2 h 55"/>
                <a:gd name="T12" fmla="*/ 230 w 232"/>
                <a:gd name="T13" fmla="*/ 2 h 55"/>
                <a:gd name="T14" fmla="*/ 229 w 232"/>
                <a:gd name="T15" fmla="*/ 10 h 55"/>
                <a:gd name="T16" fmla="*/ 115 w 232"/>
                <a:gd name="T1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55">
                  <a:moveTo>
                    <a:pt x="115" y="55"/>
                  </a:moveTo>
                  <a:cubicBezTo>
                    <a:pt x="73" y="55"/>
                    <a:pt x="33" y="40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1"/>
                    <a:pt x="8" y="1"/>
                    <a:pt x="10" y="3"/>
                  </a:cubicBezTo>
                  <a:cubicBezTo>
                    <a:pt x="39" y="30"/>
                    <a:pt x="76" y="45"/>
                    <a:pt x="115" y="45"/>
                  </a:cubicBezTo>
                  <a:cubicBezTo>
                    <a:pt x="155" y="45"/>
                    <a:pt x="193" y="29"/>
                    <a:pt x="222" y="2"/>
                  </a:cubicBezTo>
                  <a:cubicBezTo>
                    <a:pt x="224" y="0"/>
                    <a:pt x="228" y="0"/>
                    <a:pt x="230" y="2"/>
                  </a:cubicBezTo>
                  <a:cubicBezTo>
                    <a:pt x="232" y="4"/>
                    <a:pt x="232" y="8"/>
                    <a:pt x="229" y="10"/>
                  </a:cubicBezTo>
                  <a:cubicBezTo>
                    <a:pt x="199" y="39"/>
                    <a:pt x="158" y="55"/>
                    <a:pt x="115" y="5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3" name="Freeform 1032">
              <a:extLst>
                <a:ext uri="{FF2B5EF4-FFF2-40B4-BE49-F238E27FC236}">
                  <a16:creationId xmlns:a16="http://schemas.microsoft.com/office/drawing/2014/main" id="{817FB3DA-CC3B-92EA-2A13-938E91EDC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425" y="3430563"/>
              <a:ext cx="713788" cy="166554"/>
            </a:xfrm>
            <a:custGeom>
              <a:avLst/>
              <a:gdLst>
                <a:gd name="T0" fmla="*/ 6 w 229"/>
                <a:gd name="T1" fmla="*/ 54 h 54"/>
                <a:gd name="T2" fmla="*/ 2 w 229"/>
                <a:gd name="T3" fmla="*/ 53 h 54"/>
                <a:gd name="T4" fmla="*/ 2 w 229"/>
                <a:gd name="T5" fmla="*/ 45 h 54"/>
                <a:gd name="T6" fmla="*/ 114 w 229"/>
                <a:gd name="T7" fmla="*/ 0 h 54"/>
                <a:gd name="T8" fmla="*/ 226 w 229"/>
                <a:gd name="T9" fmla="*/ 44 h 54"/>
                <a:gd name="T10" fmla="*/ 227 w 229"/>
                <a:gd name="T11" fmla="*/ 52 h 54"/>
                <a:gd name="T12" fmla="*/ 219 w 229"/>
                <a:gd name="T13" fmla="*/ 52 h 54"/>
                <a:gd name="T14" fmla="*/ 114 w 229"/>
                <a:gd name="T15" fmla="*/ 11 h 54"/>
                <a:gd name="T16" fmla="*/ 9 w 229"/>
                <a:gd name="T17" fmla="*/ 53 h 54"/>
                <a:gd name="T18" fmla="*/ 6 w 229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54">
                  <a:moveTo>
                    <a:pt x="6" y="54"/>
                  </a:moveTo>
                  <a:cubicBezTo>
                    <a:pt x="4" y="54"/>
                    <a:pt x="3" y="54"/>
                    <a:pt x="2" y="53"/>
                  </a:cubicBezTo>
                  <a:cubicBezTo>
                    <a:pt x="0" y="50"/>
                    <a:pt x="0" y="47"/>
                    <a:pt x="2" y="45"/>
                  </a:cubicBezTo>
                  <a:cubicBezTo>
                    <a:pt x="33" y="16"/>
                    <a:pt x="73" y="0"/>
                    <a:pt x="114" y="0"/>
                  </a:cubicBezTo>
                  <a:cubicBezTo>
                    <a:pt x="156" y="0"/>
                    <a:pt x="196" y="16"/>
                    <a:pt x="226" y="44"/>
                  </a:cubicBezTo>
                  <a:cubicBezTo>
                    <a:pt x="228" y="46"/>
                    <a:pt x="229" y="49"/>
                    <a:pt x="227" y="52"/>
                  </a:cubicBezTo>
                  <a:cubicBezTo>
                    <a:pt x="224" y="54"/>
                    <a:pt x="221" y="54"/>
                    <a:pt x="219" y="52"/>
                  </a:cubicBezTo>
                  <a:cubicBezTo>
                    <a:pt x="190" y="26"/>
                    <a:pt x="153" y="11"/>
                    <a:pt x="114" y="11"/>
                  </a:cubicBezTo>
                  <a:cubicBezTo>
                    <a:pt x="75" y="11"/>
                    <a:pt x="38" y="26"/>
                    <a:pt x="9" y="53"/>
                  </a:cubicBezTo>
                  <a:cubicBezTo>
                    <a:pt x="8" y="54"/>
                    <a:pt x="7" y="54"/>
                    <a:pt x="6" y="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4" name="Freeform 1033">
              <a:extLst>
                <a:ext uri="{FF2B5EF4-FFF2-40B4-BE49-F238E27FC236}">
                  <a16:creationId xmlns:a16="http://schemas.microsoft.com/office/drawing/2014/main" id="{179B6A0E-8691-7A5E-6E06-A6150D5DC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6561" y="2712018"/>
              <a:ext cx="556755" cy="1032614"/>
            </a:xfrm>
            <a:custGeom>
              <a:avLst/>
              <a:gdLst>
                <a:gd name="T0" fmla="*/ 89 w 179"/>
                <a:gd name="T1" fmla="*/ 331 h 331"/>
                <a:gd name="T2" fmla="*/ 0 w 179"/>
                <a:gd name="T3" fmla="*/ 165 h 331"/>
                <a:gd name="T4" fmla="*/ 89 w 179"/>
                <a:gd name="T5" fmla="*/ 0 h 331"/>
                <a:gd name="T6" fmla="*/ 179 w 179"/>
                <a:gd name="T7" fmla="*/ 165 h 331"/>
                <a:gd name="T8" fmla="*/ 89 w 179"/>
                <a:gd name="T9" fmla="*/ 331 h 331"/>
                <a:gd name="T10" fmla="*/ 89 w 179"/>
                <a:gd name="T11" fmla="*/ 11 h 331"/>
                <a:gd name="T12" fmla="*/ 11 w 179"/>
                <a:gd name="T13" fmla="*/ 165 h 331"/>
                <a:gd name="T14" fmla="*/ 89 w 179"/>
                <a:gd name="T15" fmla="*/ 320 h 331"/>
                <a:gd name="T16" fmla="*/ 168 w 179"/>
                <a:gd name="T17" fmla="*/ 165 h 331"/>
                <a:gd name="T18" fmla="*/ 89 w 179"/>
                <a:gd name="T19" fmla="*/ 1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331">
                  <a:moveTo>
                    <a:pt x="89" y="331"/>
                  </a:moveTo>
                  <a:cubicBezTo>
                    <a:pt x="39" y="331"/>
                    <a:pt x="0" y="258"/>
                    <a:pt x="0" y="165"/>
                  </a:cubicBezTo>
                  <a:cubicBezTo>
                    <a:pt x="0" y="73"/>
                    <a:pt x="39" y="0"/>
                    <a:pt x="89" y="0"/>
                  </a:cubicBezTo>
                  <a:cubicBezTo>
                    <a:pt x="140" y="0"/>
                    <a:pt x="179" y="73"/>
                    <a:pt x="179" y="165"/>
                  </a:cubicBezTo>
                  <a:cubicBezTo>
                    <a:pt x="179" y="258"/>
                    <a:pt x="140" y="331"/>
                    <a:pt x="89" y="331"/>
                  </a:cubicBezTo>
                  <a:close/>
                  <a:moveTo>
                    <a:pt x="89" y="11"/>
                  </a:moveTo>
                  <a:cubicBezTo>
                    <a:pt x="46" y="11"/>
                    <a:pt x="11" y="80"/>
                    <a:pt x="11" y="165"/>
                  </a:cubicBezTo>
                  <a:cubicBezTo>
                    <a:pt x="11" y="250"/>
                    <a:pt x="46" y="320"/>
                    <a:pt x="89" y="320"/>
                  </a:cubicBezTo>
                  <a:cubicBezTo>
                    <a:pt x="133" y="320"/>
                    <a:pt x="168" y="250"/>
                    <a:pt x="168" y="165"/>
                  </a:cubicBezTo>
                  <a:cubicBezTo>
                    <a:pt x="168" y="80"/>
                    <a:pt x="133" y="11"/>
                    <a:pt x="89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5" name="Freeform 1034">
              <a:extLst>
                <a:ext uri="{FF2B5EF4-FFF2-40B4-BE49-F238E27FC236}">
                  <a16:creationId xmlns:a16="http://schemas.microsoft.com/office/drawing/2014/main" id="{806F332C-20C8-051F-983A-082ECB998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8633" y="3211671"/>
              <a:ext cx="1032614" cy="33313"/>
            </a:xfrm>
            <a:custGeom>
              <a:avLst/>
              <a:gdLst>
                <a:gd name="T0" fmla="*/ 325 w 331"/>
                <a:gd name="T1" fmla="*/ 11 h 11"/>
                <a:gd name="T2" fmla="*/ 6 w 331"/>
                <a:gd name="T3" fmla="*/ 11 h 11"/>
                <a:gd name="T4" fmla="*/ 0 w 331"/>
                <a:gd name="T5" fmla="*/ 5 h 11"/>
                <a:gd name="T6" fmla="*/ 6 w 331"/>
                <a:gd name="T7" fmla="*/ 0 h 11"/>
                <a:gd name="T8" fmla="*/ 325 w 331"/>
                <a:gd name="T9" fmla="*/ 0 h 11"/>
                <a:gd name="T10" fmla="*/ 331 w 331"/>
                <a:gd name="T11" fmla="*/ 5 h 11"/>
                <a:gd name="T12" fmla="*/ 325 w 33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1" h="11">
                  <a:moveTo>
                    <a:pt x="32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28" y="0"/>
                    <a:pt x="331" y="2"/>
                    <a:pt x="331" y="5"/>
                  </a:cubicBezTo>
                  <a:cubicBezTo>
                    <a:pt x="331" y="9"/>
                    <a:pt x="328" y="11"/>
                    <a:pt x="325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6" name="Freeform 1035">
              <a:extLst>
                <a:ext uri="{FF2B5EF4-FFF2-40B4-BE49-F238E27FC236}">
                  <a16:creationId xmlns:a16="http://schemas.microsoft.com/office/drawing/2014/main" id="{A248AF22-9549-2E77-1B8D-1A0A21D7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8329" y="2712018"/>
              <a:ext cx="33313" cy="1032614"/>
            </a:xfrm>
            <a:custGeom>
              <a:avLst/>
              <a:gdLst>
                <a:gd name="T0" fmla="*/ 5 w 11"/>
                <a:gd name="T1" fmla="*/ 331 h 331"/>
                <a:gd name="T2" fmla="*/ 0 w 11"/>
                <a:gd name="T3" fmla="*/ 325 h 331"/>
                <a:gd name="T4" fmla="*/ 0 w 11"/>
                <a:gd name="T5" fmla="*/ 6 h 331"/>
                <a:gd name="T6" fmla="*/ 5 w 11"/>
                <a:gd name="T7" fmla="*/ 0 h 331"/>
                <a:gd name="T8" fmla="*/ 11 w 11"/>
                <a:gd name="T9" fmla="*/ 6 h 331"/>
                <a:gd name="T10" fmla="*/ 11 w 11"/>
                <a:gd name="T11" fmla="*/ 325 h 331"/>
                <a:gd name="T12" fmla="*/ 5 w 11"/>
                <a:gd name="T13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1">
                  <a:moveTo>
                    <a:pt x="5" y="331"/>
                  </a:moveTo>
                  <a:cubicBezTo>
                    <a:pt x="2" y="331"/>
                    <a:pt x="0" y="328"/>
                    <a:pt x="0" y="3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25"/>
                    <a:pt x="11" y="325"/>
                    <a:pt x="11" y="325"/>
                  </a:cubicBezTo>
                  <a:cubicBezTo>
                    <a:pt x="11" y="328"/>
                    <a:pt x="9" y="331"/>
                    <a:pt x="5" y="3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911FE69-A77B-DD24-C20F-3E67E134A895}"/>
              </a:ext>
            </a:extLst>
          </p:cNvPr>
          <p:cNvGrpSpPr/>
          <p:nvPr/>
        </p:nvGrpSpPr>
        <p:grpSpPr>
          <a:xfrm>
            <a:off x="771281" y="3959792"/>
            <a:ext cx="685562" cy="679489"/>
            <a:chOff x="1304626" y="6079909"/>
            <a:chExt cx="1159632" cy="1149360"/>
          </a:xfrm>
        </p:grpSpPr>
        <p:sp>
          <p:nvSpPr>
            <p:cNvPr id="38" name="Freeform 368">
              <a:extLst>
                <a:ext uri="{FF2B5EF4-FFF2-40B4-BE49-F238E27FC236}">
                  <a16:creationId xmlns:a16="http://schemas.microsoft.com/office/drawing/2014/main" id="{418F648A-B656-224A-0C21-96E887BCF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0406" y="6079909"/>
              <a:ext cx="933852" cy="933854"/>
            </a:xfrm>
            <a:custGeom>
              <a:avLst/>
              <a:gdLst>
                <a:gd name="T0" fmla="*/ 164 w 329"/>
                <a:gd name="T1" fmla="*/ 329 h 329"/>
                <a:gd name="T2" fmla="*/ 0 w 329"/>
                <a:gd name="T3" fmla="*/ 165 h 329"/>
                <a:gd name="T4" fmla="*/ 164 w 329"/>
                <a:gd name="T5" fmla="*/ 0 h 329"/>
                <a:gd name="T6" fmla="*/ 329 w 329"/>
                <a:gd name="T7" fmla="*/ 165 h 329"/>
                <a:gd name="T8" fmla="*/ 164 w 329"/>
                <a:gd name="T9" fmla="*/ 329 h 329"/>
                <a:gd name="T10" fmla="*/ 164 w 329"/>
                <a:gd name="T11" fmla="*/ 13 h 329"/>
                <a:gd name="T12" fmla="*/ 12 w 329"/>
                <a:gd name="T13" fmla="*/ 165 h 329"/>
                <a:gd name="T14" fmla="*/ 164 w 329"/>
                <a:gd name="T15" fmla="*/ 317 h 329"/>
                <a:gd name="T16" fmla="*/ 316 w 329"/>
                <a:gd name="T17" fmla="*/ 165 h 329"/>
                <a:gd name="T18" fmla="*/ 164 w 329"/>
                <a:gd name="T19" fmla="*/ 13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9" h="329">
                  <a:moveTo>
                    <a:pt x="164" y="329"/>
                  </a:moveTo>
                  <a:cubicBezTo>
                    <a:pt x="74" y="329"/>
                    <a:pt x="0" y="255"/>
                    <a:pt x="0" y="165"/>
                  </a:cubicBezTo>
                  <a:cubicBezTo>
                    <a:pt x="0" y="74"/>
                    <a:pt x="74" y="0"/>
                    <a:pt x="164" y="0"/>
                  </a:cubicBezTo>
                  <a:cubicBezTo>
                    <a:pt x="255" y="0"/>
                    <a:pt x="329" y="74"/>
                    <a:pt x="329" y="165"/>
                  </a:cubicBezTo>
                  <a:cubicBezTo>
                    <a:pt x="329" y="255"/>
                    <a:pt x="255" y="329"/>
                    <a:pt x="164" y="329"/>
                  </a:cubicBezTo>
                  <a:close/>
                  <a:moveTo>
                    <a:pt x="164" y="13"/>
                  </a:moveTo>
                  <a:cubicBezTo>
                    <a:pt x="80" y="13"/>
                    <a:pt x="12" y="81"/>
                    <a:pt x="12" y="165"/>
                  </a:cubicBezTo>
                  <a:cubicBezTo>
                    <a:pt x="12" y="248"/>
                    <a:pt x="80" y="317"/>
                    <a:pt x="164" y="317"/>
                  </a:cubicBezTo>
                  <a:cubicBezTo>
                    <a:pt x="248" y="317"/>
                    <a:pt x="316" y="248"/>
                    <a:pt x="316" y="165"/>
                  </a:cubicBezTo>
                  <a:cubicBezTo>
                    <a:pt x="316" y="81"/>
                    <a:pt x="248" y="13"/>
                    <a:pt x="164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39" name="Freeform 369">
              <a:extLst>
                <a:ext uri="{FF2B5EF4-FFF2-40B4-BE49-F238E27FC236}">
                  <a16:creationId xmlns:a16="http://schemas.microsoft.com/office/drawing/2014/main" id="{EBBA77B9-43D5-B553-3EBA-BF7E66B84C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4626" y="6777737"/>
              <a:ext cx="461797" cy="451532"/>
            </a:xfrm>
            <a:custGeom>
              <a:avLst/>
              <a:gdLst>
                <a:gd name="T0" fmla="*/ 41 w 163"/>
                <a:gd name="T1" fmla="*/ 159 h 159"/>
                <a:gd name="T2" fmla="*/ 41 w 163"/>
                <a:gd name="T3" fmla="*/ 159 h 159"/>
                <a:gd name="T4" fmla="*/ 14 w 163"/>
                <a:gd name="T5" fmla="*/ 148 h 159"/>
                <a:gd name="T6" fmla="*/ 16 w 163"/>
                <a:gd name="T7" fmla="*/ 95 h 159"/>
                <a:gd name="T8" fmla="*/ 109 w 163"/>
                <a:gd name="T9" fmla="*/ 2 h 159"/>
                <a:gd name="T10" fmla="*/ 113 w 163"/>
                <a:gd name="T11" fmla="*/ 0 h 159"/>
                <a:gd name="T12" fmla="*/ 118 w 163"/>
                <a:gd name="T13" fmla="*/ 3 h 159"/>
                <a:gd name="T14" fmla="*/ 161 w 163"/>
                <a:gd name="T15" fmla="*/ 45 h 159"/>
                <a:gd name="T16" fmla="*/ 163 w 163"/>
                <a:gd name="T17" fmla="*/ 50 h 159"/>
                <a:gd name="T18" fmla="*/ 161 w 163"/>
                <a:gd name="T19" fmla="*/ 55 h 159"/>
                <a:gd name="T20" fmla="*/ 67 w 163"/>
                <a:gd name="T21" fmla="*/ 148 h 159"/>
                <a:gd name="T22" fmla="*/ 41 w 163"/>
                <a:gd name="T23" fmla="*/ 159 h 159"/>
                <a:gd name="T24" fmla="*/ 112 w 163"/>
                <a:gd name="T25" fmla="*/ 16 h 159"/>
                <a:gd name="T26" fmla="*/ 24 w 163"/>
                <a:gd name="T27" fmla="*/ 103 h 159"/>
                <a:gd name="T28" fmla="*/ 23 w 163"/>
                <a:gd name="T29" fmla="*/ 139 h 159"/>
                <a:gd name="T30" fmla="*/ 41 w 163"/>
                <a:gd name="T31" fmla="*/ 147 h 159"/>
                <a:gd name="T32" fmla="*/ 59 w 163"/>
                <a:gd name="T33" fmla="*/ 140 h 159"/>
                <a:gd name="T34" fmla="*/ 148 w 163"/>
                <a:gd name="T35" fmla="*/ 51 h 159"/>
                <a:gd name="T36" fmla="*/ 112 w 163"/>
                <a:gd name="T37" fmla="*/ 1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3" h="159">
                  <a:moveTo>
                    <a:pt x="41" y="159"/>
                  </a:moveTo>
                  <a:cubicBezTo>
                    <a:pt x="41" y="159"/>
                    <a:pt x="41" y="159"/>
                    <a:pt x="41" y="159"/>
                  </a:cubicBezTo>
                  <a:cubicBezTo>
                    <a:pt x="30" y="159"/>
                    <a:pt x="21" y="155"/>
                    <a:pt x="14" y="148"/>
                  </a:cubicBezTo>
                  <a:cubicBezTo>
                    <a:pt x="0" y="133"/>
                    <a:pt x="1" y="109"/>
                    <a:pt x="16" y="95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10" y="1"/>
                    <a:pt x="112" y="0"/>
                    <a:pt x="113" y="0"/>
                  </a:cubicBezTo>
                  <a:cubicBezTo>
                    <a:pt x="115" y="0"/>
                    <a:pt x="117" y="1"/>
                    <a:pt x="118" y="3"/>
                  </a:cubicBezTo>
                  <a:cubicBezTo>
                    <a:pt x="130" y="19"/>
                    <a:pt x="144" y="34"/>
                    <a:pt x="161" y="45"/>
                  </a:cubicBezTo>
                  <a:cubicBezTo>
                    <a:pt x="162" y="46"/>
                    <a:pt x="163" y="48"/>
                    <a:pt x="163" y="50"/>
                  </a:cubicBezTo>
                  <a:cubicBezTo>
                    <a:pt x="163" y="52"/>
                    <a:pt x="163" y="53"/>
                    <a:pt x="161" y="55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0" y="155"/>
                    <a:pt x="51" y="159"/>
                    <a:pt x="41" y="159"/>
                  </a:cubicBezTo>
                  <a:close/>
                  <a:moveTo>
                    <a:pt x="112" y="16"/>
                  </a:moveTo>
                  <a:cubicBezTo>
                    <a:pt x="24" y="103"/>
                    <a:pt x="24" y="103"/>
                    <a:pt x="24" y="103"/>
                  </a:cubicBezTo>
                  <a:cubicBezTo>
                    <a:pt x="14" y="113"/>
                    <a:pt x="14" y="130"/>
                    <a:pt x="23" y="139"/>
                  </a:cubicBezTo>
                  <a:cubicBezTo>
                    <a:pt x="28" y="144"/>
                    <a:pt x="34" y="147"/>
                    <a:pt x="41" y="147"/>
                  </a:cubicBezTo>
                  <a:cubicBezTo>
                    <a:pt x="48" y="147"/>
                    <a:pt x="54" y="145"/>
                    <a:pt x="59" y="140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34" y="41"/>
                    <a:pt x="122" y="29"/>
                    <a:pt x="112" y="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40" name="Freeform 370">
              <a:extLst>
                <a:ext uri="{FF2B5EF4-FFF2-40B4-BE49-F238E27FC236}">
                  <a16:creationId xmlns:a16="http://schemas.microsoft.com/office/drawing/2014/main" id="{5B40E829-34F5-F699-2461-A3714307B8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6420" y="6480158"/>
              <a:ext cx="461797" cy="318130"/>
            </a:xfrm>
            <a:custGeom>
              <a:avLst/>
              <a:gdLst>
                <a:gd name="T0" fmla="*/ 105 w 163"/>
                <a:gd name="T1" fmla="*/ 112 h 112"/>
                <a:gd name="T2" fmla="*/ 57 w 163"/>
                <a:gd name="T3" fmla="*/ 112 h 112"/>
                <a:gd name="T4" fmla="*/ 39 w 163"/>
                <a:gd name="T5" fmla="*/ 104 h 112"/>
                <a:gd name="T6" fmla="*/ 25 w 163"/>
                <a:gd name="T7" fmla="*/ 111 h 112"/>
                <a:gd name="T8" fmla="*/ 7 w 163"/>
                <a:gd name="T9" fmla="*/ 105 h 112"/>
                <a:gd name="T10" fmla="*/ 0 w 163"/>
                <a:gd name="T11" fmla="*/ 88 h 112"/>
                <a:gd name="T12" fmla="*/ 0 w 163"/>
                <a:gd name="T13" fmla="*/ 39 h 112"/>
                <a:gd name="T14" fmla="*/ 39 w 163"/>
                <a:gd name="T15" fmla="*/ 0 h 112"/>
                <a:gd name="T16" fmla="*/ 123 w 163"/>
                <a:gd name="T17" fmla="*/ 0 h 112"/>
                <a:gd name="T18" fmla="*/ 163 w 163"/>
                <a:gd name="T19" fmla="*/ 39 h 112"/>
                <a:gd name="T20" fmla="*/ 163 w 163"/>
                <a:gd name="T21" fmla="*/ 88 h 112"/>
                <a:gd name="T22" fmla="*/ 155 w 163"/>
                <a:gd name="T23" fmla="*/ 105 h 112"/>
                <a:gd name="T24" fmla="*/ 138 w 163"/>
                <a:gd name="T25" fmla="*/ 111 h 112"/>
                <a:gd name="T26" fmla="*/ 123 w 163"/>
                <a:gd name="T27" fmla="*/ 104 h 112"/>
                <a:gd name="T28" fmla="*/ 105 w 163"/>
                <a:gd name="T29" fmla="*/ 112 h 112"/>
                <a:gd name="T30" fmla="*/ 39 w 163"/>
                <a:gd name="T31" fmla="*/ 82 h 112"/>
                <a:gd name="T32" fmla="*/ 45 w 163"/>
                <a:gd name="T33" fmla="*/ 88 h 112"/>
                <a:gd name="T34" fmla="*/ 57 w 163"/>
                <a:gd name="T35" fmla="*/ 100 h 112"/>
                <a:gd name="T36" fmla="*/ 105 w 163"/>
                <a:gd name="T37" fmla="*/ 100 h 112"/>
                <a:gd name="T38" fmla="*/ 117 w 163"/>
                <a:gd name="T39" fmla="*/ 88 h 112"/>
                <a:gd name="T40" fmla="*/ 123 w 163"/>
                <a:gd name="T41" fmla="*/ 82 h 112"/>
                <a:gd name="T42" fmla="*/ 123 w 163"/>
                <a:gd name="T43" fmla="*/ 82 h 112"/>
                <a:gd name="T44" fmla="*/ 129 w 163"/>
                <a:gd name="T45" fmla="*/ 88 h 112"/>
                <a:gd name="T46" fmla="*/ 139 w 163"/>
                <a:gd name="T47" fmla="*/ 99 h 112"/>
                <a:gd name="T48" fmla="*/ 147 w 163"/>
                <a:gd name="T49" fmla="*/ 96 h 112"/>
                <a:gd name="T50" fmla="*/ 151 w 163"/>
                <a:gd name="T51" fmla="*/ 88 h 112"/>
                <a:gd name="T52" fmla="*/ 151 w 163"/>
                <a:gd name="T53" fmla="*/ 39 h 112"/>
                <a:gd name="T54" fmla="*/ 123 w 163"/>
                <a:gd name="T55" fmla="*/ 12 h 112"/>
                <a:gd name="T56" fmla="*/ 39 w 163"/>
                <a:gd name="T57" fmla="*/ 12 h 112"/>
                <a:gd name="T58" fmla="*/ 12 w 163"/>
                <a:gd name="T59" fmla="*/ 39 h 112"/>
                <a:gd name="T60" fmla="*/ 12 w 163"/>
                <a:gd name="T61" fmla="*/ 88 h 112"/>
                <a:gd name="T62" fmla="*/ 15 w 163"/>
                <a:gd name="T63" fmla="*/ 96 h 112"/>
                <a:gd name="T64" fmla="*/ 24 w 163"/>
                <a:gd name="T65" fmla="*/ 99 h 112"/>
                <a:gd name="T66" fmla="*/ 24 w 163"/>
                <a:gd name="T67" fmla="*/ 99 h 112"/>
                <a:gd name="T68" fmla="*/ 33 w 163"/>
                <a:gd name="T69" fmla="*/ 88 h 112"/>
                <a:gd name="T70" fmla="*/ 39 w 163"/>
                <a:gd name="T71" fmla="*/ 8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3" h="112">
                  <a:moveTo>
                    <a:pt x="105" y="112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0" y="112"/>
                    <a:pt x="44" y="109"/>
                    <a:pt x="39" y="104"/>
                  </a:cubicBezTo>
                  <a:cubicBezTo>
                    <a:pt x="35" y="108"/>
                    <a:pt x="30" y="111"/>
                    <a:pt x="25" y="111"/>
                  </a:cubicBezTo>
                  <a:cubicBezTo>
                    <a:pt x="18" y="112"/>
                    <a:pt x="12" y="110"/>
                    <a:pt x="7" y="105"/>
                  </a:cubicBezTo>
                  <a:cubicBezTo>
                    <a:pt x="2" y="101"/>
                    <a:pt x="0" y="95"/>
                    <a:pt x="0" y="8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45" y="0"/>
                    <a:pt x="163" y="18"/>
                    <a:pt x="163" y="39"/>
                  </a:cubicBezTo>
                  <a:cubicBezTo>
                    <a:pt x="163" y="88"/>
                    <a:pt x="163" y="88"/>
                    <a:pt x="163" y="88"/>
                  </a:cubicBezTo>
                  <a:cubicBezTo>
                    <a:pt x="163" y="95"/>
                    <a:pt x="160" y="101"/>
                    <a:pt x="155" y="105"/>
                  </a:cubicBezTo>
                  <a:cubicBezTo>
                    <a:pt x="151" y="110"/>
                    <a:pt x="144" y="112"/>
                    <a:pt x="138" y="111"/>
                  </a:cubicBezTo>
                  <a:cubicBezTo>
                    <a:pt x="132" y="111"/>
                    <a:pt x="127" y="108"/>
                    <a:pt x="123" y="104"/>
                  </a:cubicBezTo>
                  <a:cubicBezTo>
                    <a:pt x="119" y="109"/>
                    <a:pt x="112" y="112"/>
                    <a:pt x="105" y="112"/>
                  </a:cubicBezTo>
                  <a:close/>
                  <a:moveTo>
                    <a:pt x="39" y="82"/>
                  </a:moveTo>
                  <a:cubicBezTo>
                    <a:pt x="43" y="82"/>
                    <a:pt x="45" y="84"/>
                    <a:pt x="45" y="88"/>
                  </a:cubicBezTo>
                  <a:cubicBezTo>
                    <a:pt x="45" y="94"/>
                    <a:pt x="51" y="100"/>
                    <a:pt x="57" y="100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12" y="100"/>
                    <a:pt x="117" y="94"/>
                    <a:pt x="117" y="88"/>
                  </a:cubicBezTo>
                  <a:cubicBezTo>
                    <a:pt x="117" y="84"/>
                    <a:pt x="120" y="82"/>
                    <a:pt x="123" y="82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7" y="82"/>
                    <a:pt x="129" y="84"/>
                    <a:pt x="129" y="88"/>
                  </a:cubicBezTo>
                  <a:cubicBezTo>
                    <a:pt x="129" y="94"/>
                    <a:pt x="134" y="98"/>
                    <a:pt x="139" y="99"/>
                  </a:cubicBezTo>
                  <a:cubicBezTo>
                    <a:pt x="142" y="99"/>
                    <a:pt x="145" y="98"/>
                    <a:pt x="147" y="96"/>
                  </a:cubicBezTo>
                  <a:cubicBezTo>
                    <a:pt x="149" y="94"/>
                    <a:pt x="151" y="91"/>
                    <a:pt x="151" y="88"/>
                  </a:cubicBezTo>
                  <a:cubicBezTo>
                    <a:pt x="151" y="39"/>
                    <a:pt x="151" y="39"/>
                    <a:pt x="151" y="39"/>
                  </a:cubicBezTo>
                  <a:cubicBezTo>
                    <a:pt x="151" y="24"/>
                    <a:pt x="138" y="12"/>
                    <a:pt x="123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24" y="12"/>
                    <a:pt x="12" y="24"/>
                    <a:pt x="12" y="39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91"/>
                    <a:pt x="13" y="94"/>
                    <a:pt x="15" y="96"/>
                  </a:cubicBezTo>
                  <a:cubicBezTo>
                    <a:pt x="18" y="98"/>
                    <a:pt x="21" y="99"/>
                    <a:pt x="24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9" y="98"/>
                    <a:pt x="33" y="94"/>
                    <a:pt x="33" y="88"/>
                  </a:cubicBezTo>
                  <a:cubicBezTo>
                    <a:pt x="33" y="84"/>
                    <a:pt x="36" y="82"/>
                    <a:pt x="39" y="8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41" name="Freeform 371">
              <a:extLst>
                <a:ext uri="{FF2B5EF4-FFF2-40B4-BE49-F238E27FC236}">
                  <a16:creationId xmlns:a16="http://schemas.microsoft.com/office/drawing/2014/main" id="{90C89C9E-E218-0B2D-8890-55CE7564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767" y="6480158"/>
              <a:ext cx="277078" cy="41049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9"/>
                    <a:pt x="94" y="12"/>
                    <a:pt x="90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42" name="Freeform 372">
              <a:extLst>
                <a:ext uri="{FF2B5EF4-FFF2-40B4-BE49-F238E27FC236}">
                  <a16:creationId xmlns:a16="http://schemas.microsoft.com/office/drawing/2014/main" id="{09CA6882-4210-E421-4BB7-DC856516B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791" y="6654599"/>
              <a:ext cx="41049" cy="92365"/>
            </a:xfrm>
            <a:custGeom>
              <a:avLst/>
              <a:gdLst>
                <a:gd name="T0" fmla="*/ 6 w 12"/>
                <a:gd name="T1" fmla="*/ 34 h 34"/>
                <a:gd name="T2" fmla="*/ 0 w 12"/>
                <a:gd name="T3" fmla="*/ 28 h 34"/>
                <a:gd name="T4" fmla="*/ 0 w 12"/>
                <a:gd name="T5" fmla="*/ 6 h 34"/>
                <a:gd name="T6" fmla="*/ 6 w 12"/>
                <a:gd name="T7" fmla="*/ 0 h 34"/>
                <a:gd name="T8" fmla="*/ 12 w 12"/>
                <a:gd name="T9" fmla="*/ 6 h 34"/>
                <a:gd name="T10" fmla="*/ 12 w 12"/>
                <a:gd name="T11" fmla="*/ 28 h 34"/>
                <a:gd name="T12" fmla="*/ 6 w 1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4">
                  <a:moveTo>
                    <a:pt x="6" y="34"/>
                  </a:moveTo>
                  <a:cubicBezTo>
                    <a:pt x="3" y="34"/>
                    <a:pt x="0" y="31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1"/>
                    <a:pt x="10" y="34"/>
                    <a:pt x="6" y="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43" name="Freeform 373">
              <a:extLst>
                <a:ext uri="{FF2B5EF4-FFF2-40B4-BE49-F238E27FC236}">
                  <a16:creationId xmlns:a16="http://schemas.microsoft.com/office/drawing/2014/main" id="{D768BFB5-6529-6FC1-5D98-A7D09C930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036" y="6654579"/>
              <a:ext cx="30792" cy="92365"/>
            </a:xfrm>
            <a:custGeom>
              <a:avLst/>
              <a:gdLst>
                <a:gd name="T0" fmla="*/ 6 w 12"/>
                <a:gd name="T1" fmla="*/ 34 h 34"/>
                <a:gd name="T2" fmla="*/ 0 w 12"/>
                <a:gd name="T3" fmla="*/ 28 h 34"/>
                <a:gd name="T4" fmla="*/ 0 w 12"/>
                <a:gd name="T5" fmla="*/ 6 h 34"/>
                <a:gd name="T6" fmla="*/ 6 w 12"/>
                <a:gd name="T7" fmla="*/ 0 h 34"/>
                <a:gd name="T8" fmla="*/ 12 w 12"/>
                <a:gd name="T9" fmla="*/ 6 h 34"/>
                <a:gd name="T10" fmla="*/ 12 w 12"/>
                <a:gd name="T11" fmla="*/ 28 h 34"/>
                <a:gd name="T12" fmla="*/ 6 w 1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4">
                  <a:moveTo>
                    <a:pt x="6" y="34"/>
                  </a:moveTo>
                  <a:cubicBezTo>
                    <a:pt x="3" y="34"/>
                    <a:pt x="0" y="31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1"/>
                    <a:pt x="10" y="34"/>
                    <a:pt x="6" y="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44" name="Freeform 374">
              <a:extLst>
                <a:ext uri="{FF2B5EF4-FFF2-40B4-BE49-F238E27FC236}">
                  <a16:creationId xmlns:a16="http://schemas.microsoft.com/office/drawing/2014/main" id="{C65668B5-A6AC-147C-2F8D-6B34C30E58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9788" y="6254363"/>
              <a:ext cx="194981" cy="194981"/>
            </a:xfrm>
            <a:custGeom>
              <a:avLst/>
              <a:gdLst>
                <a:gd name="T0" fmla="*/ 34 w 69"/>
                <a:gd name="T1" fmla="*/ 68 h 68"/>
                <a:gd name="T2" fmla="*/ 0 w 69"/>
                <a:gd name="T3" fmla="*/ 34 h 68"/>
                <a:gd name="T4" fmla="*/ 34 w 69"/>
                <a:gd name="T5" fmla="*/ 0 h 68"/>
                <a:gd name="T6" fmla="*/ 69 w 69"/>
                <a:gd name="T7" fmla="*/ 34 h 68"/>
                <a:gd name="T8" fmla="*/ 34 w 69"/>
                <a:gd name="T9" fmla="*/ 68 h 68"/>
                <a:gd name="T10" fmla="*/ 34 w 69"/>
                <a:gd name="T11" fmla="*/ 12 h 68"/>
                <a:gd name="T12" fmla="*/ 12 w 69"/>
                <a:gd name="T13" fmla="*/ 34 h 68"/>
                <a:gd name="T14" fmla="*/ 34 w 69"/>
                <a:gd name="T15" fmla="*/ 56 h 68"/>
                <a:gd name="T16" fmla="*/ 56 w 69"/>
                <a:gd name="T17" fmla="*/ 34 h 68"/>
                <a:gd name="T18" fmla="*/ 34 w 69"/>
                <a:gd name="T19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9" y="15"/>
                    <a:pt x="69" y="34"/>
                  </a:cubicBezTo>
                  <a:cubicBezTo>
                    <a:pt x="69" y="53"/>
                    <a:pt x="53" y="68"/>
                    <a:pt x="34" y="68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2"/>
                    <a:pt x="12" y="34"/>
                  </a:cubicBezTo>
                  <a:cubicBezTo>
                    <a:pt x="12" y="46"/>
                    <a:pt x="22" y="56"/>
                    <a:pt x="34" y="56"/>
                  </a:cubicBezTo>
                  <a:cubicBezTo>
                    <a:pt x="46" y="56"/>
                    <a:pt x="56" y="46"/>
                    <a:pt x="56" y="34"/>
                  </a:cubicBezTo>
                  <a:cubicBezTo>
                    <a:pt x="56" y="22"/>
                    <a:pt x="46" y="12"/>
                    <a:pt x="34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BB898ADC-18DA-5648-F8D6-BCAA29168A53}"/>
              </a:ext>
            </a:extLst>
          </p:cNvPr>
          <p:cNvSpPr txBox="1"/>
          <p:nvPr/>
        </p:nvSpPr>
        <p:spPr>
          <a:xfrm>
            <a:off x="4475566" y="1741801"/>
            <a:ext cx="2514447" cy="236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3B9D880-3684-28A8-EC14-6CA36CE0AFD0}"/>
              </a:ext>
            </a:extLst>
          </p:cNvPr>
          <p:cNvSpPr txBox="1"/>
          <p:nvPr/>
        </p:nvSpPr>
        <p:spPr>
          <a:xfrm>
            <a:off x="4475565" y="2114817"/>
            <a:ext cx="1531856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2%</a:t>
            </a:r>
            <a:endParaRPr lang="en-IN" sz="1537" b="1" baseline="300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AC4B904-39B9-6BB7-9990-44249E09F82F}"/>
              </a:ext>
            </a:extLst>
          </p:cNvPr>
          <p:cNvSpPr txBox="1"/>
          <p:nvPr/>
        </p:nvSpPr>
        <p:spPr>
          <a:xfrm>
            <a:off x="4525741" y="4107323"/>
            <a:ext cx="2446155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AF66B9D-04D4-120B-7B08-3706F05B3FD9}"/>
              </a:ext>
            </a:extLst>
          </p:cNvPr>
          <p:cNvSpPr txBox="1"/>
          <p:nvPr/>
        </p:nvSpPr>
        <p:spPr>
          <a:xfrm>
            <a:off x="4525741" y="4470046"/>
            <a:ext cx="2446155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537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15324C6-DC22-9173-ECE2-71FA884FD6FF}"/>
              </a:ext>
            </a:extLst>
          </p:cNvPr>
          <p:cNvGrpSpPr/>
          <p:nvPr/>
        </p:nvGrpSpPr>
        <p:grpSpPr>
          <a:xfrm>
            <a:off x="6992107" y="2031729"/>
            <a:ext cx="667471" cy="548452"/>
            <a:chOff x="11827193" y="2818577"/>
            <a:chExt cx="1129032" cy="927710"/>
          </a:xfrm>
        </p:grpSpPr>
        <p:sp>
          <p:nvSpPr>
            <p:cNvPr id="50" name="Freeform 760">
              <a:extLst>
                <a:ext uri="{FF2B5EF4-FFF2-40B4-BE49-F238E27FC236}">
                  <a16:creationId xmlns:a16="http://schemas.microsoft.com/office/drawing/2014/main" id="{FA6910D4-53A4-F8BE-7940-4246275C5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62369" y="2958617"/>
              <a:ext cx="297572" cy="288821"/>
            </a:xfrm>
            <a:custGeom>
              <a:avLst/>
              <a:gdLst>
                <a:gd name="T0" fmla="*/ 7 w 124"/>
                <a:gd name="T1" fmla="*/ 116 h 116"/>
                <a:gd name="T2" fmla="*/ 2 w 124"/>
                <a:gd name="T3" fmla="*/ 115 h 116"/>
                <a:gd name="T4" fmla="*/ 3 w 124"/>
                <a:gd name="T5" fmla="*/ 106 h 116"/>
                <a:gd name="T6" fmla="*/ 113 w 124"/>
                <a:gd name="T7" fmla="*/ 2 h 116"/>
                <a:gd name="T8" fmla="*/ 122 w 124"/>
                <a:gd name="T9" fmla="*/ 2 h 116"/>
                <a:gd name="T10" fmla="*/ 121 w 124"/>
                <a:gd name="T11" fmla="*/ 11 h 116"/>
                <a:gd name="T12" fmla="*/ 11 w 124"/>
                <a:gd name="T13" fmla="*/ 115 h 116"/>
                <a:gd name="T14" fmla="*/ 7 w 124"/>
                <a:gd name="T1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16">
                  <a:moveTo>
                    <a:pt x="7" y="116"/>
                  </a:moveTo>
                  <a:cubicBezTo>
                    <a:pt x="5" y="116"/>
                    <a:pt x="4" y="116"/>
                    <a:pt x="2" y="115"/>
                  </a:cubicBezTo>
                  <a:cubicBezTo>
                    <a:pt x="0" y="112"/>
                    <a:pt x="0" y="108"/>
                    <a:pt x="3" y="106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6" y="0"/>
                    <a:pt x="119" y="0"/>
                    <a:pt x="122" y="2"/>
                  </a:cubicBezTo>
                  <a:cubicBezTo>
                    <a:pt x="124" y="5"/>
                    <a:pt x="124" y="9"/>
                    <a:pt x="121" y="11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0" y="116"/>
                    <a:pt x="8" y="116"/>
                    <a:pt x="7" y="1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1" name="Freeform 761">
              <a:extLst>
                <a:ext uri="{FF2B5EF4-FFF2-40B4-BE49-F238E27FC236}">
                  <a16:creationId xmlns:a16="http://schemas.microsoft.com/office/drawing/2014/main" id="{7C3F4EC4-8DAA-019A-F562-D8B832DF3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9787" y="3089896"/>
              <a:ext cx="262563" cy="166289"/>
            </a:xfrm>
            <a:custGeom>
              <a:avLst/>
              <a:gdLst>
                <a:gd name="T0" fmla="*/ 103 w 110"/>
                <a:gd name="T1" fmla="*/ 72 h 72"/>
                <a:gd name="T2" fmla="*/ 99 w 110"/>
                <a:gd name="T3" fmla="*/ 71 h 72"/>
                <a:gd name="T4" fmla="*/ 4 w 110"/>
                <a:gd name="T5" fmla="*/ 13 h 72"/>
                <a:gd name="T6" fmla="*/ 2 w 110"/>
                <a:gd name="T7" fmla="*/ 4 h 72"/>
                <a:gd name="T8" fmla="*/ 10 w 110"/>
                <a:gd name="T9" fmla="*/ 2 h 72"/>
                <a:gd name="T10" fmla="*/ 106 w 110"/>
                <a:gd name="T11" fmla="*/ 60 h 72"/>
                <a:gd name="T12" fmla="*/ 108 w 110"/>
                <a:gd name="T13" fmla="*/ 69 h 72"/>
                <a:gd name="T14" fmla="*/ 103 w 110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72">
                  <a:moveTo>
                    <a:pt x="103" y="72"/>
                  </a:moveTo>
                  <a:cubicBezTo>
                    <a:pt x="102" y="72"/>
                    <a:pt x="100" y="71"/>
                    <a:pt x="99" y="7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9" y="62"/>
                    <a:pt x="110" y="66"/>
                    <a:pt x="108" y="69"/>
                  </a:cubicBezTo>
                  <a:cubicBezTo>
                    <a:pt x="107" y="71"/>
                    <a:pt x="105" y="72"/>
                    <a:pt x="103" y="7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2" name="Freeform 762">
              <a:extLst>
                <a:ext uri="{FF2B5EF4-FFF2-40B4-BE49-F238E27FC236}">
                  <a16:creationId xmlns:a16="http://schemas.microsoft.com/office/drawing/2014/main" id="{B2EFB940-20F0-96CD-0010-B95E8BD82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4709" y="3089896"/>
              <a:ext cx="253816" cy="262562"/>
            </a:xfrm>
            <a:custGeom>
              <a:avLst/>
              <a:gdLst>
                <a:gd name="T0" fmla="*/ 7 w 105"/>
                <a:gd name="T1" fmla="*/ 107 h 107"/>
                <a:gd name="T2" fmla="*/ 3 w 105"/>
                <a:gd name="T3" fmla="*/ 105 h 107"/>
                <a:gd name="T4" fmla="*/ 3 w 105"/>
                <a:gd name="T5" fmla="*/ 97 h 107"/>
                <a:gd name="T6" fmla="*/ 94 w 105"/>
                <a:gd name="T7" fmla="*/ 2 h 107"/>
                <a:gd name="T8" fmla="*/ 103 w 105"/>
                <a:gd name="T9" fmla="*/ 2 h 107"/>
                <a:gd name="T10" fmla="*/ 103 w 105"/>
                <a:gd name="T11" fmla="*/ 11 h 107"/>
                <a:gd name="T12" fmla="*/ 12 w 105"/>
                <a:gd name="T13" fmla="*/ 105 h 107"/>
                <a:gd name="T14" fmla="*/ 7 w 105"/>
                <a:gd name="T1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7">
                  <a:moveTo>
                    <a:pt x="7" y="107"/>
                  </a:moveTo>
                  <a:cubicBezTo>
                    <a:pt x="6" y="107"/>
                    <a:pt x="4" y="106"/>
                    <a:pt x="3" y="105"/>
                  </a:cubicBezTo>
                  <a:cubicBezTo>
                    <a:pt x="1" y="103"/>
                    <a:pt x="0" y="99"/>
                    <a:pt x="3" y="97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7" y="0"/>
                    <a:pt x="101" y="0"/>
                    <a:pt x="103" y="2"/>
                  </a:cubicBezTo>
                  <a:cubicBezTo>
                    <a:pt x="105" y="5"/>
                    <a:pt x="105" y="9"/>
                    <a:pt x="103" y="11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0" y="106"/>
                    <a:pt x="9" y="107"/>
                    <a:pt x="7" y="10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3" name="Freeform 763">
              <a:extLst>
                <a:ext uri="{FF2B5EF4-FFF2-40B4-BE49-F238E27FC236}">
                  <a16:creationId xmlns:a16="http://schemas.microsoft.com/office/drawing/2014/main" id="{FB382B53-C24D-E57F-2850-997879E0A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7193" y="3299946"/>
              <a:ext cx="140033" cy="148786"/>
            </a:xfrm>
            <a:custGeom>
              <a:avLst/>
              <a:gdLst>
                <a:gd name="T0" fmla="*/ 30 w 59"/>
                <a:gd name="T1" fmla="*/ 60 h 60"/>
                <a:gd name="T2" fmla="*/ 28 w 59"/>
                <a:gd name="T3" fmla="*/ 60 h 60"/>
                <a:gd name="T4" fmla="*/ 8 w 59"/>
                <a:gd name="T5" fmla="*/ 50 h 60"/>
                <a:gd name="T6" fmla="*/ 0 w 59"/>
                <a:gd name="T7" fmla="*/ 29 h 60"/>
                <a:gd name="T8" fmla="*/ 10 w 59"/>
                <a:gd name="T9" fmla="*/ 8 h 60"/>
                <a:gd name="T10" fmla="*/ 31 w 59"/>
                <a:gd name="T11" fmla="*/ 1 h 60"/>
                <a:gd name="T12" fmla="*/ 51 w 59"/>
                <a:gd name="T13" fmla="*/ 10 h 60"/>
                <a:gd name="T14" fmla="*/ 59 w 59"/>
                <a:gd name="T15" fmla="*/ 32 h 60"/>
                <a:gd name="T16" fmla="*/ 49 w 59"/>
                <a:gd name="T17" fmla="*/ 52 h 60"/>
                <a:gd name="T18" fmla="*/ 30 w 59"/>
                <a:gd name="T19" fmla="*/ 60 h 60"/>
                <a:gd name="T20" fmla="*/ 30 w 59"/>
                <a:gd name="T21" fmla="*/ 13 h 60"/>
                <a:gd name="T22" fmla="*/ 18 w 59"/>
                <a:gd name="T23" fmla="*/ 18 h 60"/>
                <a:gd name="T24" fmla="*/ 12 w 59"/>
                <a:gd name="T25" fmla="*/ 30 h 60"/>
                <a:gd name="T26" fmla="*/ 17 w 59"/>
                <a:gd name="T27" fmla="*/ 42 h 60"/>
                <a:gd name="T28" fmla="*/ 29 w 59"/>
                <a:gd name="T29" fmla="*/ 48 h 60"/>
                <a:gd name="T30" fmla="*/ 41 w 59"/>
                <a:gd name="T31" fmla="*/ 43 h 60"/>
                <a:gd name="T32" fmla="*/ 47 w 59"/>
                <a:gd name="T33" fmla="*/ 31 h 60"/>
                <a:gd name="T34" fmla="*/ 42 w 59"/>
                <a:gd name="T35" fmla="*/ 19 h 60"/>
                <a:gd name="T36" fmla="*/ 30 w 59"/>
                <a:gd name="T37" fmla="*/ 13 h 60"/>
                <a:gd name="T38" fmla="*/ 30 w 59"/>
                <a:gd name="T39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60">
                  <a:moveTo>
                    <a:pt x="30" y="60"/>
                  </a:moveTo>
                  <a:cubicBezTo>
                    <a:pt x="29" y="60"/>
                    <a:pt x="29" y="60"/>
                    <a:pt x="28" y="60"/>
                  </a:cubicBezTo>
                  <a:cubicBezTo>
                    <a:pt x="20" y="60"/>
                    <a:pt x="13" y="56"/>
                    <a:pt x="8" y="50"/>
                  </a:cubicBezTo>
                  <a:cubicBezTo>
                    <a:pt x="2" y="44"/>
                    <a:pt x="0" y="37"/>
                    <a:pt x="0" y="29"/>
                  </a:cubicBezTo>
                  <a:cubicBezTo>
                    <a:pt x="0" y="21"/>
                    <a:pt x="4" y="14"/>
                    <a:pt x="10" y="8"/>
                  </a:cubicBezTo>
                  <a:cubicBezTo>
                    <a:pt x="15" y="3"/>
                    <a:pt x="23" y="0"/>
                    <a:pt x="31" y="1"/>
                  </a:cubicBezTo>
                  <a:cubicBezTo>
                    <a:pt x="39" y="1"/>
                    <a:pt x="46" y="5"/>
                    <a:pt x="51" y="10"/>
                  </a:cubicBezTo>
                  <a:cubicBezTo>
                    <a:pt x="57" y="16"/>
                    <a:pt x="59" y="24"/>
                    <a:pt x="59" y="32"/>
                  </a:cubicBezTo>
                  <a:cubicBezTo>
                    <a:pt x="59" y="40"/>
                    <a:pt x="55" y="47"/>
                    <a:pt x="49" y="52"/>
                  </a:cubicBezTo>
                  <a:cubicBezTo>
                    <a:pt x="44" y="57"/>
                    <a:pt x="37" y="60"/>
                    <a:pt x="30" y="60"/>
                  </a:cubicBezTo>
                  <a:close/>
                  <a:moveTo>
                    <a:pt x="30" y="13"/>
                  </a:moveTo>
                  <a:cubicBezTo>
                    <a:pt x="25" y="13"/>
                    <a:pt x="21" y="15"/>
                    <a:pt x="18" y="18"/>
                  </a:cubicBezTo>
                  <a:cubicBezTo>
                    <a:pt x="14" y="21"/>
                    <a:pt x="12" y="25"/>
                    <a:pt x="12" y="30"/>
                  </a:cubicBezTo>
                  <a:cubicBezTo>
                    <a:pt x="12" y="34"/>
                    <a:pt x="14" y="39"/>
                    <a:pt x="17" y="42"/>
                  </a:cubicBezTo>
                  <a:cubicBezTo>
                    <a:pt x="20" y="45"/>
                    <a:pt x="24" y="47"/>
                    <a:pt x="29" y="48"/>
                  </a:cubicBezTo>
                  <a:cubicBezTo>
                    <a:pt x="33" y="48"/>
                    <a:pt x="38" y="46"/>
                    <a:pt x="41" y="43"/>
                  </a:cubicBezTo>
                  <a:cubicBezTo>
                    <a:pt x="45" y="40"/>
                    <a:pt x="47" y="36"/>
                    <a:pt x="47" y="31"/>
                  </a:cubicBezTo>
                  <a:cubicBezTo>
                    <a:pt x="47" y="26"/>
                    <a:pt x="45" y="22"/>
                    <a:pt x="42" y="19"/>
                  </a:cubicBezTo>
                  <a:cubicBezTo>
                    <a:pt x="39" y="15"/>
                    <a:pt x="35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4" name="Freeform 764">
              <a:extLst>
                <a:ext uri="{FF2B5EF4-FFF2-40B4-BE49-F238E27FC236}">
                  <a16:creationId xmlns:a16="http://schemas.microsoft.com/office/drawing/2014/main" id="{68A63A0F-E6D6-9B02-9F40-3BCF7E639B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24765" y="2993623"/>
              <a:ext cx="140033" cy="148786"/>
            </a:xfrm>
            <a:custGeom>
              <a:avLst/>
              <a:gdLst>
                <a:gd name="T0" fmla="*/ 30 w 60"/>
                <a:gd name="T1" fmla="*/ 60 h 60"/>
                <a:gd name="T2" fmla="*/ 29 w 60"/>
                <a:gd name="T3" fmla="*/ 60 h 60"/>
                <a:gd name="T4" fmla="*/ 8 w 60"/>
                <a:gd name="T5" fmla="*/ 50 h 60"/>
                <a:gd name="T6" fmla="*/ 1 w 60"/>
                <a:gd name="T7" fmla="*/ 29 h 60"/>
                <a:gd name="T8" fmla="*/ 32 w 60"/>
                <a:gd name="T9" fmla="*/ 1 h 60"/>
                <a:gd name="T10" fmla="*/ 52 w 60"/>
                <a:gd name="T11" fmla="*/ 10 h 60"/>
                <a:gd name="T12" fmla="*/ 60 w 60"/>
                <a:gd name="T13" fmla="*/ 31 h 60"/>
                <a:gd name="T14" fmla="*/ 50 w 60"/>
                <a:gd name="T15" fmla="*/ 52 h 60"/>
                <a:gd name="T16" fmla="*/ 30 w 60"/>
                <a:gd name="T17" fmla="*/ 60 h 60"/>
                <a:gd name="T18" fmla="*/ 30 w 60"/>
                <a:gd name="T19" fmla="*/ 13 h 60"/>
                <a:gd name="T20" fmla="*/ 13 w 60"/>
                <a:gd name="T21" fmla="*/ 29 h 60"/>
                <a:gd name="T22" fmla="*/ 17 w 60"/>
                <a:gd name="T23" fmla="*/ 42 h 60"/>
                <a:gd name="T24" fmla="*/ 29 w 60"/>
                <a:gd name="T25" fmla="*/ 47 h 60"/>
                <a:gd name="T26" fmla="*/ 42 w 60"/>
                <a:gd name="T27" fmla="*/ 43 h 60"/>
                <a:gd name="T28" fmla="*/ 48 w 60"/>
                <a:gd name="T29" fmla="*/ 31 h 60"/>
                <a:gd name="T30" fmla="*/ 48 w 60"/>
                <a:gd name="T31" fmla="*/ 31 h 60"/>
                <a:gd name="T32" fmla="*/ 43 w 60"/>
                <a:gd name="T33" fmla="*/ 18 h 60"/>
                <a:gd name="T34" fmla="*/ 31 w 60"/>
                <a:gd name="T35" fmla="*/ 13 h 60"/>
                <a:gd name="T36" fmla="*/ 30 w 60"/>
                <a:gd name="T37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30" y="60"/>
                    <a:pt x="29" y="60"/>
                    <a:pt x="29" y="60"/>
                  </a:cubicBezTo>
                  <a:cubicBezTo>
                    <a:pt x="21" y="59"/>
                    <a:pt x="14" y="56"/>
                    <a:pt x="8" y="50"/>
                  </a:cubicBezTo>
                  <a:cubicBezTo>
                    <a:pt x="3" y="44"/>
                    <a:pt x="0" y="37"/>
                    <a:pt x="1" y="29"/>
                  </a:cubicBezTo>
                  <a:cubicBezTo>
                    <a:pt x="1" y="13"/>
                    <a:pt x="15" y="0"/>
                    <a:pt x="32" y="1"/>
                  </a:cubicBezTo>
                  <a:cubicBezTo>
                    <a:pt x="39" y="1"/>
                    <a:pt x="47" y="4"/>
                    <a:pt x="52" y="10"/>
                  </a:cubicBezTo>
                  <a:cubicBezTo>
                    <a:pt x="57" y="16"/>
                    <a:pt x="60" y="24"/>
                    <a:pt x="60" y="31"/>
                  </a:cubicBezTo>
                  <a:cubicBezTo>
                    <a:pt x="59" y="39"/>
                    <a:pt x="56" y="47"/>
                    <a:pt x="50" y="52"/>
                  </a:cubicBezTo>
                  <a:cubicBezTo>
                    <a:pt x="45" y="57"/>
                    <a:pt x="38" y="60"/>
                    <a:pt x="30" y="60"/>
                  </a:cubicBezTo>
                  <a:close/>
                  <a:moveTo>
                    <a:pt x="30" y="13"/>
                  </a:moveTo>
                  <a:cubicBezTo>
                    <a:pt x="21" y="13"/>
                    <a:pt x="13" y="20"/>
                    <a:pt x="13" y="29"/>
                  </a:cubicBezTo>
                  <a:cubicBezTo>
                    <a:pt x="13" y="34"/>
                    <a:pt x="14" y="38"/>
                    <a:pt x="17" y="42"/>
                  </a:cubicBezTo>
                  <a:cubicBezTo>
                    <a:pt x="21" y="45"/>
                    <a:pt x="25" y="47"/>
                    <a:pt x="29" y="47"/>
                  </a:cubicBezTo>
                  <a:cubicBezTo>
                    <a:pt x="34" y="48"/>
                    <a:pt x="39" y="46"/>
                    <a:pt x="42" y="43"/>
                  </a:cubicBezTo>
                  <a:cubicBezTo>
                    <a:pt x="45" y="40"/>
                    <a:pt x="47" y="36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26"/>
                    <a:pt x="46" y="22"/>
                    <a:pt x="43" y="18"/>
                  </a:cubicBezTo>
                  <a:cubicBezTo>
                    <a:pt x="40" y="15"/>
                    <a:pt x="36" y="13"/>
                    <a:pt x="31" y="13"/>
                  </a:cubicBezTo>
                  <a:cubicBezTo>
                    <a:pt x="31" y="13"/>
                    <a:pt x="30" y="13"/>
                    <a:pt x="30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5" name="Freeform 765">
              <a:extLst>
                <a:ext uri="{FF2B5EF4-FFF2-40B4-BE49-F238E27FC236}">
                  <a16:creationId xmlns:a16="http://schemas.microsoft.com/office/drawing/2014/main" id="{FF314F98-F004-76A9-6311-06E6A1ACA3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66096" y="3203673"/>
              <a:ext cx="140033" cy="140033"/>
            </a:xfrm>
            <a:custGeom>
              <a:avLst/>
              <a:gdLst>
                <a:gd name="T0" fmla="*/ 30 w 59"/>
                <a:gd name="T1" fmla="*/ 60 h 60"/>
                <a:gd name="T2" fmla="*/ 28 w 59"/>
                <a:gd name="T3" fmla="*/ 60 h 60"/>
                <a:gd name="T4" fmla="*/ 8 w 59"/>
                <a:gd name="T5" fmla="*/ 50 h 60"/>
                <a:gd name="T6" fmla="*/ 0 w 59"/>
                <a:gd name="T7" fmla="*/ 29 h 60"/>
                <a:gd name="T8" fmla="*/ 31 w 59"/>
                <a:gd name="T9" fmla="*/ 0 h 60"/>
                <a:gd name="T10" fmla="*/ 51 w 59"/>
                <a:gd name="T11" fmla="*/ 10 h 60"/>
                <a:gd name="T12" fmla="*/ 59 w 59"/>
                <a:gd name="T13" fmla="*/ 31 h 60"/>
                <a:gd name="T14" fmla="*/ 50 w 59"/>
                <a:gd name="T15" fmla="*/ 52 h 60"/>
                <a:gd name="T16" fmla="*/ 30 w 59"/>
                <a:gd name="T17" fmla="*/ 60 h 60"/>
                <a:gd name="T18" fmla="*/ 30 w 59"/>
                <a:gd name="T19" fmla="*/ 13 h 60"/>
                <a:gd name="T20" fmla="*/ 12 w 59"/>
                <a:gd name="T21" fmla="*/ 29 h 60"/>
                <a:gd name="T22" fmla="*/ 17 w 59"/>
                <a:gd name="T23" fmla="*/ 42 h 60"/>
                <a:gd name="T24" fmla="*/ 29 w 59"/>
                <a:gd name="T25" fmla="*/ 47 h 60"/>
                <a:gd name="T26" fmla="*/ 41 w 59"/>
                <a:gd name="T27" fmla="*/ 43 h 60"/>
                <a:gd name="T28" fmla="*/ 47 w 59"/>
                <a:gd name="T29" fmla="*/ 31 h 60"/>
                <a:gd name="T30" fmla="*/ 47 w 59"/>
                <a:gd name="T31" fmla="*/ 31 h 60"/>
                <a:gd name="T32" fmla="*/ 42 w 59"/>
                <a:gd name="T33" fmla="*/ 18 h 60"/>
                <a:gd name="T34" fmla="*/ 30 w 59"/>
                <a:gd name="T35" fmla="*/ 13 h 60"/>
                <a:gd name="T36" fmla="*/ 30 w 59"/>
                <a:gd name="T37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60">
                  <a:moveTo>
                    <a:pt x="30" y="60"/>
                  </a:moveTo>
                  <a:cubicBezTo>
                    <a:pt x="29" y="60"/>
                    <a:pt x="29" y="60"/>
                    <a:pt x="28" y="60"/>
                  </a:cubicBezTo>
                  <a:cubicBezTo>
                    <a:pt x="20" y="59"/>
                    <a:pt x="13" y="56"/>
                    <a:pt x="8" y="50"/>
                  </a:cubicBezTo>
                  <a:cubicBezTo>
                    <a:pt x="2" y="44"/>
                    <a:pt x="0" y="37"/>
                    <a:pt x="0" y="29"/>
                  </a:cubicBezTo>
                  <a:cubicBezTo>
                    <a:pt x="1" y="12"/>
                    <a:pt x="15" y="0"/>
                    <a:pt x="31" y="0"/>
                  </a:cubicBezTo>
                  <a:cubicBezTo>
                    <a:pt x="39" y="1"/>
                    <a:pt x="46" y="4"/>
                    <a:pt x="51" y="10"/>
                  </a:cubicBezTo>
                  <a:cubicBezTo>
                    <a:pt x="57" y="16"/>
                    <a:pt x="59" y="23"/>
                    <a:pt x="59" y="31"/>
                  </a:cubicBezTo>
                  <a:cubicBezTo>
                    <a:pt x="59" y="39"/>
                    <a:pt x="55" y="46"/>
                    <a:pt x="50" y="52"/>
                  </a:cubicBezTo>
                  <a:cubicBezTo>
                    <a:pt x="44" y="57"/>
                    <a:pt x="37" y="60"/>
                    <a:pt x="30" y="60"/>
                  </a:cubicBezTo>
                  <a:close/>
                  <a:moveTo>
                    <a:pt x="30" y="13"/>
                  </a:moveTo>
                  <a:cubicBezTo>
                    <a:pt x="20" y="13"/>
                    <a:pt x="13" y="20"/>
                    <a:pt x="12" y="29"/>
                  </a:cubicBezTo>
                  <a:cubicBezTo>
                    <a:pt x="12" y="34"/>
                    <a:pt x="14" y="38"/>
                    <a:pt x="17" y="42"/>
                  </a:cubicBezTo>
                  <a:cubicBezTo>
                    <a:pt x="20" y="45"/>
                    <a:pt x="24" y="47"/>
                    <a:pt x="29" y="47"/>
                  </a:cubicBezTo>
                  <a:cubicBezTo>
                    <a:pt x="33" y="47"/>
                    <a:pt x="38" y="46"/>
                    <a:pt x="41" y="43"/>
                  </a:cubicBezTo>
                  <a:cubicBezTo>
                    <a:pt x="45" y="40"/>
                    <a:pt x="47" y="35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26"/>
                    <a:pt x="45" y="22"/>
                    <a:pt x="42" y="18"/>
                  </a:cubicBezTo>
                  <a:cubicBezTo>
                    <a:pt x="39" y="15"/>
                    <a:pt x="35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6" name="Freeform 766">
              <a:extLst>
                <a:ext uri="{FF2B5EF4-FFF2-40B4-BE49-F238E27FC236}">
                  <a16:creationId xmlns:a16="http://schemas.microsoft.com/office/drawing/2014/main" id="{30844367-E03D-636B-C723-174B08FA5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16192" y="2862349"/>
              <a:ext cx="140033" cy="140033"/>
            </a:xfrm>
            <a:custGeom>
              <a:avLst/>
              <a:gdLst>
                <a:gd name="T0" fmla="*/ 30 w 60"/>
                <a:gd name="T1" fmla="*/ 59 h 59"/>
                <a:gd name="T2" fmla="*/ 28 w 60"/>
                <a:gd name="T3" fmla="*/ 59 h 59"/>
                <a:gd name="T4" fmla="*/ 8 w 60"/>
                <a:gd name="T5" fmla="*/ 50 h 59"/>
                <a:gd name="T6" fmla="*/ 0 w 60"/>
                <a:gd name="T7" fmla="*/ 28 h 59"/>
                <a:gd name="T8" fmla="*/ 10 w 60"/>
                <a:gd name="T9" fmla="*/ 8 h 59"/>
                <a:gd name="T10" fmla="*/ 31 w 60"/>
                <a:gd name="T11" fmla="*/ 0 h 59"/>
                <a:gd name="T12" fmla="*/ 59 w 60"/>
                <a:gd name="T13" fmla="*/ 31 h 59"/>
                <a:gd name="T14" fmla="*/ 59 w 60"/>
                <a:gd name="T15" fmla="*/ 31 h 59"/>
                <a:gd name="T16" fmla="*/ 50 w 60"/>
                <a:gd name="T17" fmla="*/ 52 h 59"/>
                <a:gd name="T18" fmla="*/ 30 w 60"/>
                <a:gd name="T19" fmla="*/ 59 h 59"/>
                <a:gd name="T20" fmla="*/ 30 w 60"/>
                <a:gd name="T21" fmla="*/ 12 h 59"/>
                <a:gd name="T22" fmla="*/ 12 w 60"/>
                <a:gd name="T23" fmla="*/ 29 h 59"/>
                <a:gd name="T24" fmla="*/ 17 w 60"/>
                <a:gd name="T25" fmla="*/ 41 h 59"/>
                <a:gd name="T26" fmla="*/ 29 w 60"/>
                <a:gd name="T27" fmla="*/ 47 h 59"/>
                <a:gd name="T28" fmla="*/ 41 w 60"/>
                <a:gd name="T29" fmla="*/ 43 h 59"/>
                <a:gd name="T30" fmla="*/ 47 w 60"/>
                <a:gd name="T31" fmla="*/ 31 h 59"/>
                <a:gd name="T32" fmla="*/ 31 w 60"/>
                <a:gd name="T33" fmla="*/ 12 h 59"/>
                <a:gd name="T34" fmla="*/ 30 w 60"/>
                <a:gd name="T35" fmla="*/ 12 h 59"/>
                <a:gd name="T36" fmla="*/ 53 w 60"/>
                <a:gd name="T37" fmla="*/ 31 h 59"/>
                <a:gd name="T38" fmla="*/ 53 w 60"/>
                <a:gd name="T39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59">
                  <a:moveTo>
                    <a:pt x="30" y="59"/>
                  </a:moveTo>
                  <a:cubicBezTo>
                    <a:pt x="29" y="59"/>
                    <a:pt x="29" y="59"/>
                    <a:pt x="28" y="59"/>
                  </a:cubicBezTo>
                  <a:cubicBezTo>
                    <a:pt x="21" y="59"/>
                    <a:pt x="13" y="56"/>
                    <a:pt x="8" y="50"/>
                  </a:cubicBezTo>
                  <a:cubicBezTo>
                    <a:pt x="3" y="44"/>
                    <a:pt x="0" y="36"/>
                    <a:pt x="0" y="28"/>
                  </a:cubicBezTo>
                  <a:cubicBezTo>
                    <a:pt x="1" y="21"/>
                    <a:pt x="4" y="13"/>
                    <a:pt x="10" y="8"/>
                  </a:cubicBezTo>
                  <a:cubicBezTo>
                    <a:pt x="16" y="3"/>
                    <a:pt x="23" y="0"/>
                    <a:pt x="31" y="0"/>
                  </a:cubicBezTo>
                  <a:cubicBezTo>
                    <a:pt x="47" y="1"/>
                    <a:pt x="60" y="15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9"/>
                    <a:pt x="56" y="46"/>
                    <a:pt x="50" y="52"/>
                  </a:cubicBezTo>
                  <a:cubicBezTo>
                    <a:pt x="44" y="57"/>
                    <a:pt x="37" y="59"/>
                    <a:pt x="30" y="59"/>
                  </a:cubicBezTo>
                  <a:close/>
                  <a:moveTo>
                    <a:pt x="30" y="12"/>
                  </a:moveTo>
                  <a:cubicBezTo>
                    <a:pt x="21" y="12"/>
                    <a:pt x="13" y="20"/>
                    <a:pt x="12" y="29"/>
                  </a:cubicBezTo>
                  <a:cubicBezTo>
                    <a:pt x="12" y="34"/>
                    <a:pt x="14" y="38"/>
                    <a:pt x="17" y="41"/>
                  </a:cubicBezTo>
                  <a:cubicBezTo>
                    <a:pt x="20" y="45"/>
                    <a:pt x="24" y="47"/>
                    <a:pt x="29" y="47"/>
                  </a:cubicBezTo>
                  <a:cubicBezTo>
                    <a:pt x="34" y="47"/>
                    <a:pt x="38" y="46"/>
                    <a:pt x="41" y="43"/>
                  </a:cubicBezTo>
                  <a:cubicBezTo>
                    <a:pt x="45" y="39"/>
                    <a:pt x="47" y="35"/>
                    <a:pt x="47" y="31"/>
                  </a:cubicBezTo>
                  <a:cubicBezTo>
                    <a:pt x="47" y="21"/>
                    <a:pt x="40" y="13"/>
                    <a:pt x="31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1"/>
                    <a:pt x="53" y="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7" name="Freeform 767">
              <a:extLst>
                <a:ext uri="{FF2B5EF4-FFF2-40B4-BE49-F238E27FC236}">
                  <a16:creationId xmlns:a16="http://schemas.microsoft.com/office/drawing/2014/main" id="{F29E4D51-D9C2-2C89-DCBC-D3DD2BBFD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02217" y="2818577"/>
              <a:ext cx="717668" cy="726423"/>
            </a:xfrm>
            <a:custGeom>
              <a:avLst/>
              <a:gdLst>
                <a:gd name="T0" fmla="*/ 150 w 300"/>
                <a:gd name="T1" fmla="*/ 299 h 299"/>
                <a:gd name="T2" fmla="*/ 0 w 300"/>
                <a:gd name="T3" fmla="*/ 150 h 299"/>
                <a:gd name="T4" fmla="*/ 150 w 300"/>
                <a:gd name="T5" fmla="*/ 0 h 299"/>
                <a:gd name="T6" fmla="*/ 300 w 300"/>
                <a:gd name="T7" fmla="*/ 150 h 299"/>
                <a:gd name="T8" fmla="*/ 150 w 300"/>
                <a:gd name="T9" fmla="*/ 299 h 299"/>
                <a:gd name="T10" fmla="*/ 150 w 300"/>
                <a:gd name="T11" fmla="*/ 12 h 299"/>
                <a:gd name="T12" fmla="*/ 12 w 300"/>
                <a:gd name="T13" fmla="*/ 150 h 299"/>
                <a:gd name="T14" fmla="*/ 150 w 300"/>
                <a:gd name="T15" fmla="*/ 287 h 299"/>
                <a:gd name="T16" fmla="*/ 287 w 300"/>
                <a:gd name="T17" fmla="*/ 150 h 299"/>
                <a:gd name="T18" fmla="*/ 150 w 300"/>
                <a:gd name="T19" fmla="*/ 12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0" h="299">
                  <a:moveTo>
                    <a:pt x="150" y="299"/>
                  </a:moveTo>
                  <a:cubicBezTo>
                    <a:pt x="67" y="299"/>
                    <a:pt x="0" y="232"/>
                    <a:pt x="0" y="150"/>
                  </a:cubicBezTo>
                  <a:cubicBezTo>
                    <a:pt x="0" y="67"/>
                    <a:pt x="67" y="0"/>
                    <a:pt x="150" y="0"/>
                  </a:cubicBezTo>
                  <a:cubicBezTo>
                    <a:pt x="232" y="0"/>
                    <a:pt x="300" y="67"/>
                    <a:pt x="300" y="150"/>
                  </a:cubicBezTo>
                  <a:cubicBezTo>
                    <a:pt x="300" y="232"/>
                    <a:pt x="232" y="299"/>
                    <a:pt x="150" y="299"/>
                  </a:cubicBezTo>
                  <a:close/>
                  <a:moveTo>
                    <a:pt x="150" y="12"/>
                  </a:moveTo>
                  <a:cubicBezTo>
                    <a:pt x="74" y="12"/>
                    <a:pt x="12" y="74"/>
                    <a:pt x="12" y="150"/>
                  </a:cubicBezTo>
                  <a:cubicBezTo>
                    <a:pt x="12" y="225"/>
                    <a:pt x="74" y="287"/>
                    <a:pt x="150" y="287"/>
                  </a:cubicBezTo>
                  <a:cubicBezTo>
                    <a:pt x="226" y="287"/>
                    <a:pt x="287" y="225"/>
                    <a:pt x="287" y="150"/>
                  </a:cubicBezTo>
                  <a:cubicBezTo>
                    <a:pt x="287" y="74"/>
                    <a:pt x="226" y="12"/>
                    <a:pt x="150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58" name="Freeform 768">
              <a:extLst>
                <a:ext uri="{FF2B5EF4-FFF2-40B4-BE49-F238E27FC236}">
                  <a16:creationId xmlns:a16="http://schemas.microsoft.com/office/drawing/2014/main" id="{61D30565-8354-77E5-A126-5D3BB2024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4830" y="3387451"/>
              <a:ext cx="376341" cy="358836"/>
            </a:xfrm>
            <a:custGeom>
              <a:avLst/>
              <a:gdLst>
                <a:gd name="T0" fmla="*/ 128 w 155"/>
                <a:gd name="T1" fmla="*/ 150 h 150"/>
                <a:gd name="T2" fmla="*/ 108 w 155"/>
                <a:gd name="T3" fmla="*/ 142 h 150"/>
                <a:gd name="T4" fmla="*/ 3 w 155"/>
                <a:gd name="T5" fmla="*/ 37 h 150"/>
                <a:gd name="T6" fmla="*/ 3 w 155"/>
                <a:gd name="T7" fmla="*/ 28 h 150"/>
                <a:gd name="T8" fmla="*/ 11 w 155"/>
                <a:gd name="T9" fmla="*/ 28 h 150"/>
                <a:gd name="T10" fmla="*/ 117 w 155"/>
                <a:gd name="T11" fmla="*/ 133 h 150"/>
                <a:gd name="T12" fmla="*/ 138 w 155"/>
                <a:gd name="T13" fmla="*/ 133 h 150"/>
                <a:gd name="T14" fmla="*/ 143 w 155"/>
                <a:gd name="T15" fmla="*/ 122 h 150"/>
                <a:gd name="T16" fmla="*/ 139 w 155"/>
                <a:gd name="T17" fmla="*/ 112 h 150"/>
                <a:gd name="T18" fmla="*/ 38 w 155"/>
                <a:gd name="T19" fmla="*/ 11 h 150"/>
                <a:gd name="T20" fmla="*/ 38 w 155"/>
                <a:gd name="T21" fmla="*/ 2 h 150"/>
                <a:gd name="T22" fmla="*/ 46 w 155"/>
                <a:gd name="T23" fmla="*/ 2 h 150"/>
                <a:gd name="T24" fmla="*/ 147 w 155"/>
                <a:gd name="T25" fmla="*/ 103 h 150"/>
                <a:gd name="T26" fmla="*/ 155 w 155"/>
                <a:gd name="T27" fmla="*/ 122 h 150"/>
                <a:gd name="T28" fmla="*/ 147 w 155"/>
                <a:gd name="T29" fmla="*/ 142 h 150"/>
                <a:gd name="T30" fmla="*/ 128 w 155"/>
                <a:gd name="T3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50">
                  <a:moveTo>
                    <a:pt x="128" y="150"/>
                  </a:moveTo>
                  <a:cubicBezTo>
                    <a:pt x="120" y="150"/>
                    <a:pt x="113" y="147"/>
                    <a:pt x="108" y="142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0" y="34"/>
                    <a:pt x="0" y="30"/>
                    <a:pt x="3" y="28"/>
                  </a:cubicBezTo>
                  <a:cubicBezTo>
                    <a:pt x="5" y="26"/>
                    <a:pt x="9" y="26"/>
                    <a:pt x="11" y="28"/>
                  </a:cubicBezTo>
                  <a:cubicBezTo>
                    <a:pt x="117" y="133"/>
                    <a:pt x="117" y="133"/>
                    <a:pt x="117" y="133"/>
                  </a:cubicBezTo>
                  <a:cubicBezTo>
                    <a:pt x="123" y="139"/>
                    <a:pt x="133" y="139"/>
                    <a:pt x="138" y="133"/>
                  </a:cubicBezTo>
                  <a:cubicBezTo>
                    <a:pt x="142" y="130"/>
                    <a:pt x="143" y="126"/>
                    <a:pt x="143" y="122"/>
                  </a:cubicBezTo>
                  <a:cubicBezTo>
                    <a:pt x="143" y="118"/>
                    <a:pt x="142" y="114"/>
                    <a:pt x="139" y="112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8"/>
                    <a:pt x="35" y="4"/>
                    <a:pt x="38" y="2"/>
                  </a:cubicBezTo>
                  <a:cubicBezTo>
                    <a:pt x="40" y="0"/>
                    <a:pt x="44" y="0"/>
                    <a:pt x="46" y="2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53" y="108"/>
                    <a:pt x="155" y="115"/>
                    <a:pt x="155" y="122"/>
                  </a:cubicBezTo>
                  <a:cubicBezTo>
                    <a:pt x="155" y="130"/>
                    <a:pt x="153" y="137"/>
                    <a:pt x="147" y="142"/>
                  </a:cubicBezTo>
                  <a:cubicBezTo>
                    <a:pt x="142" y="147"/>
                    <a:pt x="135" y="150"/>
                    <a:pt x="128" y="15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24933C2-D9B2-9FF9-F3E0-33A92317B894}"/>
              </a:ext>
            </a:extLst>
          </p:cNvPr>
          <p:cNvGrpSpPr/>
          <p:nvPr/>
        </p:nvGrpSpPr>
        <p:grpSpPr>
          <a:xfrm>
            <a:off x="7076900" y="4028857"/>
            <a:ext cx="680111" cy="674709"/>
            <a:chOff x="11970622" y="6196731"/>
            <a:chExt cx="1150412" cy="1141275"/>
          </a:xfrm>
        </p:grpSpPr>
        <p:sp>
          <p:nvSpPr>
            <p:cNvPr id="60" name="Freeform 787">
              <a:extLst>
                <a:ext uri="{FF2B5EF4-FFF2-40B4-BE49-F238E27FC236}">
                  <a16:creationId xmlns:a16="http://schemas.microsoft.com/office/drawing/2014/main" id="{0E12128B-0C66-727D-DB28-031553518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4113" y="6447240"/>
              <a:ext cx="807233" cy="807242"/>
            </a:xfrm>
            <a:custGeom>
              <a:avLst/>
              <a:gdLst>
                <a:gd name="T0" fmla="*/ 158 w 316"/>
                <a:gd name="T1" fmla="*/ 315 h 315"/>
                <a:gd name="T2" fmla="*/ 0 w 316"/>
                <a:gd name="T3" fmla="*/ 158 h 315"/>
                <a:gd name="T4" fmla="*/ 158 w 316"/>
                <a:gd name="T5" fmla="*/ 0 h 315"/>
                <a:gd name="T6" fmla="*/ 316 w 316"/>
                <a:gd name="T7" fmla="*/ 154 h 315"/>
                <a:gd name="T8" fmla="*/ 310 w 316"/>
                <a:gd name="T9" fmla="*/ 161 h 315"/>
                <a:gd name="T10" fmla="*/ 310 w 316"/>
                <a:gd name="T11" fmla="*/ 161 h 315"/>
                <a:gd name="T12" fmla="*/ 304 w 316"/>
                <a:gd name="T13" fmla="*/ 155 h 315"/>
                <a:gd name="T14" fmla="*/ 158 w 316"/>
                <a:gd name="T15" fmla="*/ 12 h 315"/>
                <a:gd name="T16" fmla="*/ 13 w 316"/>
                <a:gd name="T17" fmla="*/ 158 h 315"/>
                <a:gd name="T18" fmla="*/ 158 w 316"/>
                <a:gd name="T19" fmla="*/ 303 h 315"/>
                <a:gd name="T20" fmla="*/ 233 w 316"/>
                <a:gd name="T21" fmla="*/ 282 h 315"/>
                <a:gd name="T22" fmla="*/ 242 w 316"/>
                <a:gd name="T23" fmla="*/ 284 h 315"/>
                <a:gd name="T24" fmla="*/ 240 w 316"/>
                <a:gd name="T25" fmla="*/ 293 h 315"/>
                <a:gd name="T26" fmla="*/ 158 w 316"/>
                <a:gd name="T27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6" h="315">
                  <a:moveTo>
                    <a:pt x="158" y="315"/>
                  </a:moveTo>
                  <a:cubicBezTo>
                    <a:pt x="71" y="315"/>
                    <a:pt x="0" y="245"/>
                    <a:pt x="0" y="158"/>
                  </a:cubicBezTo>
                  <a:cubicBezTo>
                    <a:pt x="0" y="71"/>
                    <a:pt x="71" y="0"/>
                    <a:pt x="158" y="0"/>
                  </a:cubicBezTo>
                  <a:cubicBezTo>
                    <a:pt x="243" y="0"/>
                    <a:pt x="314" y="69"/>
                    <a:pt x="316" y="154"/>
                  </a:cubicBezTo>
                  <a:cubicBezTo>
                    <a:pt x="316" y="158"/>
                    <a:pt x="313" y="161"/>
                    <a:pt x="310" y="161"/>
                  </a:cubicBezTo>
                  <a:cubicBezTo>
                    <a:pt x="310" y="161"/>
                    <a:pt x="310" y="161"/>
                    <a:pt x="310" y="161"/>
                  </a:cubicBezTo>
                  <a:cubicBezTo>
                    <a:pt x="306" y="161"/>
                    <a:pt x="304" y="158"/>
                    <a:pt x="304" y="155"/>
                  </a:cubicBezTo>
                  <a:cubicBezTo>
                    <a:pt x="302" y="76"/>
                    <a:pt x="237" y="12"/>
                    <a:pt x="158" y="12"/>
                  </a:cubicBezTo>
                  <a:cubicBezTo>
                    <a:pt x="78" y="12"/>
                    <a:pt x="13" y="77"/>
                    <a:pt x="13" y="158"/>
                  </a:cubicBezTo>
                  <a:cubicBezTo>
                    <a:pt x="13" y="238"/>
                    <a:pt x="78" y="303"/>
                    <a:pt x="158" y="303"/>
                  </a:cubicBezTo>
                  <a:cubicBezTo>
                    <a:pt x="185" y="303"/>
                    <a:pt x="211" y="296"/>
                    <a:pt x="233" y="282"/>
                  </a:cubicBezTo>
                  <a:cubicBezTo>
                    <a:pt x="236" y="281"/>
                    <a:pt x="240" y="281"/>
                    <a:pt x="242" y="284"/>
                  </a:cubicBezTo>
                  <a:cubicBezTo>
                    <a:pt x="243" y="287"/>
                    <a:pt x="242" y="291"/>
                    <a:pt x="240" y="293"/>
                  </a:cubicBezTo>
                  <a:cubicBezTo>
                    <a:pt x="215" y="308"/>
                    <a:pt x="187" y="315"/>
                    <a:pt x="158" y="3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1" name="Freeform 788">
              <a:extLst>
                <a:ext uri="{FF2B5EF4-FFF2-40B4-BE49-F238E27FC236}">
                  <a16:creationId xmlns:a16="http://schemas.microsoft.com/office/drawing/2014/main" id="{16FF9757-EE38-1F9D-522F-B93726D46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0622" y="6363732"/>
              <a:ext cx="974245" cy="974254"/>
            </a:xfrm>
            <a:custGeom>
              <a:avLst/>
              <a:gdLst>
                <a:gd name="T0" fmla="*/ 191 w 382"/>
                <a:gd name="T1" fmla="*/ 381 h 381"/>
                <a:gd name="T2" fmla="*/ 0 w 382"/>
                <a:gd name="T3" fmla="*/ 191 h 381"/>
                <a:gd name="T4" fmla="*/ 191 w 382"/>
                <a:gd name="T5" fmla="*/ 0 h 381"/>
                <a:gd name="T6" fmla="*/ 382 w 382"/>
                <a:gd name="T7" fmla="*/ 191 h 381"/>
                <a:gd name="T8" fmla="*/ 382 w 382"/>
                <a:gd name="T9" fmla="*/ 203 h 381"/>
                <a:gd name="T10" fmla="*/ 375 w 382"/>
                <a:gd name="T11" fmla="*/ 209 h 381"/>
                <a:gd name="T12" fmla="*/ 369 w 382"/>
                <a:gd name="T13" fmla="*/ 203 h 381"/>
                <a:gd name="T14" fmla="*/ 370 w 382"/>
                <a:gd name="T15" fmla="*/ 191 h 381"/>
                <a:gd name="T16" fmla="*/ 191 w 382"/>
                <a:gd name="T17" fmla="*/ 12 h 381"/>
                <a:gd name="T18" fmla="*/ 13 w 382"/>
                <a:gd name="T19" fmla="*/ 191 h 381"/>
                <a:gd name="T20" fmla="*/ 191 w 382"/>
                <a:gd name="T21" fmla="*/ 369 h 381"/>
                <a:gd name="T22" fmla="*/ 297 w 382"/>
                <a:gd name="T23" fmla="*/ 335 h 381"/>
                <a:gd name="T24" fmla="*/ 305 w 382"/>
                <a:gd name="T25" fmla="*/ 336 h 381"/>
                <a:gd name="T26" fmla="*/ 304 w 382"/>
                <a:gd name="T27" fmla="*/ 344 h 381"/>
                <a:gd name="T28" fmla="*/ 191 w 382"/>
                <a:gd name="T29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2" h="381">
                  <a:moveTo>
                    <a:pt x="191" y="381"/>
                  </a:moveTo>
                  <a:cubicBezTo>
                    <a:pt x="86" y="381"/>
                    <a:pt x="0" y="296"/>
                    <a:pt x="0" y="191"/>
                  </a:cubicBezTo>
                  <a:cubicBezTo>
                    <a:pt x="0" y="85"/>
                    <a:pt x="86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195"/>
                    <a:pt x="382" y="199"/>
                    <a:pt x="382" y="203"/>
                  </a:cubicBezTo>
                  <a:cubicBezTo>
                    <a:pt x="381" y="207"/>
                    <a:pt x="379" y="209"/>
                    <a:pt x="375" y="209"/>
                  </a:cubicBezTo>
                  <a:cubicBezTo>
                    <a:pt x="372" y="209"/>
                    <a:pt x="369" y="206"/>
                    <a:pt x="369" y="203"/>
                  </a:cubicBezTo>
                  <a:cubicBezTo>
                    <a:pt x="370" y="199"/>
                    <a:pt x="370" y="195"/>
                    <a:pt x="370" y="191"/>
                  </a:cubicBezTo>
                  <a:cubicBezTo>
                    <a:pt x="370" y="92"/>
                    <a:pt x="290" y="12"/>
                    <a:pt x="191" y="12"/>
                  </a:cubicBezTo>
                  <a:cubicBezTo>
                    <a:pt x="93" y="12"/>
                    <a:pt x="13" y="92"/>
                    <a:pt x="13" y="191"/>
                  </a:cubicBezTo>
                  <a:cubicBezTo>
                    <a:pt x="13" y="289"/>
                    <a:pt x="93" y="369"/>
                    <a:pt x="191" y="369"/>
                  </a:cubicBezTo>
                  <a:cubicBezTo>
                    <a:pt x="229" y="369"/>
                    <a:pt x="266" y="357"/>
                    <a:pt x="297" y="335"/>
                  </a:cubicBezTo>
                  <a:cubicBezTo>
                    <a:pt x="300" y="333"/>
                    <a:pt x="303" y="333"/>
                    <a:pt x="305" y="336"/>
                  </a:cubicBezTo>
                  <a:cubicBezTo>
                    <a:pt x="307" y="339"/>
                    <a:pt x="307" y="342"/>
                    <a:pt x="304" y="344"/>
                  </a:cubicBezTo>
                  <a:cubicBezTo>
                    <a:pt x="271" y="369"/>
                    <a:pt x="232" y="381"/>
                    <a:pt x="191" y="38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2" name="Freeform 789">
              <a:extLst>
                <a:ext uri="{FF2B5EF4-FFF2-40B4-BE49-F238E27FC236}">
                  <a16:creationId xmlns:a16="http://schemas.microsoft.com/office/drawing/2014/main" id="{2FC37D16-D5AB-F884-2237-56271B9E5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32492" y="6196731"/>
              <a:ext cx="250523" cy="120624"/>
            </a:xfrm>
            <a:custGeom>
              <a:avLst/>
              <a:gdLst>
                <a:gd name="T0" fmla="*/ 90 w 96"/>
                <a:gd name="T1" fmla="*/ 48 h 48"/>
                <a:gd name="T2" fmla="*/ 6 w 96"/>
                <a:gd name="T3" fmla="*/ 48 h 48"/>
                <a:gd name="T4" fmla="*/ 0 w 96"/>
                <a:gd name="T5" fmla="*/ 42 h 48"/>
                <a:gd name="T6" fmla="*/ 0 w 96"/>
                <a:gd name="T7" fmla="*/ 6 h 48"/>
                <a:gd name="T8" fmla="*/ 6 w 96"/>
                <a:gd name="T9" fmla="*/ 0 h 48"/>
                <a:gd name="T10" fmla="*/ 90 w 96"/>
                <a:gd name="T11" fmla="*/ 0 h 48"/>
                <a:gd name="T12" fmla="*/ 96 w 96"/>
                <a:gd name="T13" fmla="*/ 6 h 48"/>
                <a:gd name="T14" fmla="*/ 96 w 96"/>
                <a:gd name="T15" fmla="*/ 42 h 48"/>
                <a:gd name="T16" fmla="*/ 90 w 96"/>
                <a:gd name="T17" fmla="*/ 48 h 48"/>
                <a:gd name="T18" fmla="*/ 12 w 96"/>
                <a:gd name="T19" fmla="*/ 35 h 48"/>
                <a:gd name="T20" fmla="*/ 84 w 96"/>
                <a:gd name="T21" fmla="*/ 35 h 48"/>
                <a:gd name="T22" fmla="*/ 84 w 96"/>
                <a:gd name="T23" fmla="*/ 12 h 48"/>
                <a:gd name="T24" fmla="*/ 12 w 96"/>
                <a:gd name="T25" fmla="*/ 12 h 48"/>
                <a:gd name="T26" fmla="*/ 12 w 96"/>
                <a:gd name="T27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48">
                  <a:moveTo>
                    <a:pt x="9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5"/>
                    <a:pt x="94" y="48"/>
                    <a:pt x="90" y="48"/>
                  </a:cubicBezTo>
                  <a:close/>
                  <a:moveTo>
                    <a:pt x="12" y="35"/>
                  </a:moveTo>
                  <a:cubicBezTo>
                    <a:pt x="84" y="35"/>
                    <a:pt x="84" y="35"/>
                    <a:pt x="84" y="35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3" name="Freeform 790">
              <a:extLst>
                <a:ext uri="{FF2B5EF4-FFF2-40B4-BE49-F238E27FC236}">
                  <a16:creationId xmlns:a16="http://schemas.microsoft.com/office/drawing/2014/main" id="{2FF65BE0-F178-C82E-D764-B309BBB03C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97435" y="6280244"/>
              <a:ext cx="120624" cy="111344"/>
            </a:xfrm>
            <a:custGeom>
              <a:avLst/>
              <a:gdLst>
                <a:gd name="T0" fmla="*/ 42 w 48"/>
                <a:gd name="T1" fmla="*/ 44 h 44"/>
                <a:gd name="T2" fmla="*/ 6 w 48"/>
                <a:gd name="T3" fmla="*/ 44 h 44"/>
                <a:gd name="T4" fmla="*/ 0 w 48"/>
                <a:gd name="T5" fmla="*/ 38 h 44"/>
                <a:gd name="T6" fmla="*/ 0 w 48"/>
                <a:gd name="T7" fmla="*/ 7 h 44"/>
                <a:gd name="T8" fmla="*/ 6 w 48"/>
                <a:gd name="T9" fmla="*/ 0 h 44"/>
                <a:gd name="T10" fmla="*/ 42 w 48"/>
                <a:gd name="T11" fmla="*/ 0 h 44"/>
                <a:gd name="T12" fmla="*/ 48 w 48"/>
                <a:gd name="T13" fmla="*/ 7 h 44"/>
                <a:gd name="T14" fmla="*/ 48 w 48"/>
                <a:gd name="T15" fmla="*/ 38 h 44"/>
                <a:gd name="T16" fmla="*/ 42 w 48"/>
                <a:gd name="T17" fmla="*/ 44 h 44"/>
                <a:gd name="T18" fmla="*/ 12 w 48"/>
                <a:gd name="T19" fmla="*/ 32 h 44"/>
                <a:gd name="T20" fmla="*/ 36 w 48"/>
                <a:gd name="T21" fmla="*/ 32 h 44"/>
                <a:gd name="T22" fmla="*/ 36 w 48"/>
                <a:gd name="T23" fmla="*/ 13 h 44"/>
                <a:gd name="T24" fmla="*/ 12 w 48"/>
                <a:gd name="T25" fmla="*/ 13 h 44"/>
                <a:gd name="T26" fmla="*/ 12 w 48"/>
                <a:gd name="T2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4">
                  <a:moveTo>
                    <a:pt x="42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3" y="44"/>
                    <a:pt x="0" y="41"/>
                    <a:pt x="0" y="3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41"/>
                    <a:pt x="45" y="44"/>
                    <a:pt x="42" y="44"/>
                  </a:cubicBezTo>
                  <a:close/>
                  <a:moveTo>
                    <a:pt x="12" y="3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12" y="13"/>
                    <a:pt x="12" y="13"/>
                    <a:pt x="12" y="13"/>
                  </a:cubicBezTo>
                  <a:lnTo>
                    <a:pt x="12" y="3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4" name="Freeform 791">
              <a:extLst>
                <a:ext uri="{FF2B5EF4-FFF2-40B4-BE49-F238E27FC236}">
                  <a16:creationId xmlns:a16="http://schemas.microsoft.com/office/drawing/2014/main" id="{8A9317AF-CD5D-E5E6-872F-17C756AAB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6295" y="6437988"/>
              <a:ext cx="111342" cy="102070"/>
            </a:xfrm>
            <a:custGeom>
              <a:avLst/>
              <a:gdLst>
                <a:gd name="T0" fmla="*/ 35 w 42"/>
                <a:gd name="T1" fmla="*/ 42 h 42"/>
                <a:gd name="T2" fmla="*/ 31 w 42"/>
                <a:gd name="T3" fmla="*/ 40 h 42"/>
                <a:gd name="T4" fmla="*/ 2 w 42"/>
                <a:gd name="T5" fmla="*/ 11 h 42"/>
                <a:gd name="T6" fmla="*/ 2 w 42"/>
                <a:gd name="T7" fmla="*/ 3 h 42"/>
                <a:gd name="T8" fmla="*/ 11 w 42"/>
                <a:gd name="T9" fmla="*/ 3 h 42"/>
                <a:gd name="T10" fmla="*/ 39 w 42"/>
                <a:gd name="T11" fmla="*/ 31 h 42"/>
                <a:gd name="T12" fmla="*/ 39 w 42"/>
                <a:gd name="T13" fmla="*/ 40 h 42"/>
                <a:gd name="T14" fmla="*/ 35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35" y="42"/>
                  </a:moveTo>
                  <a:cubicBezTo>
                    <a:pt x="33" y="42"/>
                    <a:pt x="32" y="41"/>
                    <a:pt x="31" y="4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2" y="33"/>
                    <a:pt x="42" y="37"/>
                    <a:pt x="39" y="40"/>
                  </a:cubicBezTo>
                  <a:cubicBezTo>
                    <a:pt x="38" y="41"/>
                    <a:pt x="37" y="42"/>
                    <a:pt x="35" y="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5" name="Freeform 792">
              <a:extLst>
                <a:ext uri="{FF2B5EF4-FFF2-40B4-BE49-F238E27FC236}">
                  <a16:creationId xmlns:a16="http://schemas.microsoft.com/office/drawing/2014/main" id="{EAADA1A1-222A-4AA8-A41C-838A3D341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9194" y="6400872"/>
              <a:ext cx="111342" cy="102070"/>
            </a:xfrm>
            <a:custGeom>
              <a:avLst/>
              <a:gdLst>
                <a:gd name="T0" fmla="*/ 7 w 42"/>
                <a:gd name="T1" fmla="*/ 41 h 41"/>
                <a:gd name="T2" fmla="*/ 2 w 42"/>
                <a:gd name="T3" fmla="*/ 40 h 41"/>
                <a:gd name="T4" fmla="*/ 2 w 42"/>
                <a:gd name="T5" fmla="*/ 31 h 41"/>
                <a:gd name="T6" fmla="*/ 31 w 42"/>
                <a:gd name="T7" fmla="*/ 3 h 41"/>
                <a:gd name="T8" fmla="*/ 39 w 42"/>
                <a:gd name="T9" fmla="*/ 3 h 41"/>
                <a:gd name="T10" fmla="*/ 39 w 42"/>
                <a:gd name="T11" fmla="*/ 11 h 41"/>
                <a:gd name="T12" fmla="*/ 11 w 42"/>
                <a:gd name="T13" fmla="*/ 40 h 41"/>
                <a:gd name="T14" fmla="*/ 7 w 42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1">
                  <a:moveTo>
                    <a:pt x="7" y="41"/>
                  </a:moveTo>
                  <a:cubicBezTo>
                    <a:pt x="5" y="41"/>
                    <a:pt x="4" y="41"/>
                    <a:pt x="2" y="40"/>
                  </a:cubicBezTo>
                  <a:cubicBezTo>
                    <a:pt x="0" y="37"/>
                    <a:pt x="0" y="33"/>
                    <a:pt x="2" y="31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3" y="0"/>
                    <a:pt x="37" y="0"/>
                    <a:pt x="39" y="3"/>
                  </a:cubicBezTo>
                  <a:cubicBezTo>
                    <a:pt x="42" y="5"/>
                    <a:pt x="42" y="9"/>
                    <a:pt x="39" y="1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1"/>
                    <a:pt x="8" y="41"/>
                    <a:pt x="7" y="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6" name="Freeform 793">
              <a:extLst>
                <a:ext uri="{FF2B5EF4-FFF2-40B4-BE49-F238E27FC236}">
                  <a16:creationId xmlns:a16="http://schemas.microsoft.com/office/drawing/2014/main" id="{42153173-C5B1-3AC0-D386-A9ECC4018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7147" y="6437988"/>
              <a:ext cx="102065" cy="102070"/>
            </a:xfrm>
            <a:custGeom>
              <a:avLst/>
              <a:gdLst>
                <a:gd name="T0" fmla="*/ 6 w 41"/>
                <a:gd name="T1" fmla="*/ 42 h 42"/>
                <a:gd name="T2" fmla="*/ 2 w 41"/>
                <a:gd name="T3" fmla="*/ 40 h 42"/>
                <a:gd name="T4" fmla="*/ 2 w 41"/>
                <a:gd name="T5" fmla="*/ 31 h 42"/>
                <a:gd name="T6" fmla="*/ 30 w 41"/>
                <a:gd name="T7" fmla="*/ 3 h 42"/>
                <a:gd name="T8" fmla="*/ 39 w 41"/>
                <a:gd name="T9" fmla="*/ 3 h 42"/>
                <a:gd name="T10" fmla="*/ 39 w 41"/>
                <a:gd name="T11" fmla="*/ 11 h 42"/>
                <a:gd name="T12" fmla="*/ 11 w 41"/>
                <a:gd name="T13" fmla="*/ 40 h 42"/>
                <a:gd name="T14" fmla="*/ 6 w 41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2">
                  <a:moveTo>
                    <a:pt x="6" y="42"/>
                  </a:moveTo>
                  <a:cubicBezTo>
                    <a:pt x="5" y="42"/>
                    <a:pt x="3" y="41"/>
                    <a:pt x="2" y="40"/>
                  </a:cubicBezTo>
                  <a:cubicBezTo>
                    <a:pt x="0" y="37"/>
                    <a:pt x="0" y="33"/>
                    <a:pt x="2" y="3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3" y="0"/>
                    <a:pt x="37" y="0"/>
                    <a:pt x="39" y="3"/>
                  </a:cubicBezTo>
                  <a:cubicBezTo>
                    <a:pt x="41" y="5"/>
                    <a:pt x="41" y="9"/>
                    <a:pt x="39" y="1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1"/>
                    <a:pt x="8" y="42"/>
                    <a:pt x="6" y="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7" name="Freeform 794">
              <a:extLst>
                <a:ext uri="{FF2B5EF4-FFF2-40B4-BE49-F238E27FC236}">
                  <a16:creationId xmlns:a16="http://schemas.microsoft.com/office/drawing/2014/main" id="{A28F86B6-2BCC-F17B-EE62-790FB0DB5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4985" y="6400872"/>
              <a:ext cx="111342" cy="102070"/>
            </a:xfrm>
            <a:custGeom>
              <a:avLst/>
              <a:gdLst>
                <a:gd name="T0" fmla="*/ 35 w 42"/>
                <a:gd name="T1" fmla="*/ 41 h 41"/>
                <a:gd name="T2" fmla="*/ 31 w 42"/>
                <a:gd name="T3" fmla="*/ 40 h 41"/>
                <a:gd name="T4" fmla="*/ 2 w 42"/>
                <a:gd name="T5" fmla="*/ 11 h 41"/>
                <a:gd name="T6" fmla="*/ 2 w 42"/>
                <a:gd name="T7" fmla="*/ 3 h 41"/>
                <a:gd name="T8" fmla="*/ 11 w 42"/>
                <a:gd name="T9" fmla="*/ 3 h 41"/>
                <a:gd name="T10" fmla="*/ 39 w 42"/>
                <a:gd name="T11" fmla="*/ 31 h 41"/>
                <a:gd name="T12" fmla="*/ 39 w 42"/>
                <a:gd name="T13" fmla="*/ 40 h 41"/>
                <a:gd name="T14" fmla="*/ 35 w 42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1">
                  <a:moveTo>
                    <a:pt x="35" y="41"/>
                  </a:moveTo>
                  <a:cubicBezTo>
                    <a:pt x="33" y="41"/>
                    <a:pt x="32" y="41"/>
                    <a:pt x="31" y="4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2" y="33"/>
                    <a:pt x="42" y="37"/>
                    <a:pt x="39" y="40"/>
                  </a:cubicBezTo>
                  <a:cubicBezTo>
                    <a:pt x="38" y="41"/>
                    <a:pt x="36" y="41"/>
                    <a:pt x="35" y="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8" name="Freeform 795">
              <a:extLst>
                <a:ext uri="{FF2B5EF4-FFF2-40B4-BE49-F238E27FC236}">
                  <a16:creationId xmlns:a16="http://schemas.microsoft.com/office/drawing/2014/main" id="{82F12650-A336-3145-4D81-8C3A2A4DE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2482" y="6614258"/>
              <a:ext cx="250523" cy="250524"/>
            </a:xfrm>
            <a:custGeom>
              <a:avLst/>
              <a:gdLst>
                <a:gd name="T0" fmla="*/ 49 w 98"/>
                <a:gd name="T1" fmla="*/ 98 h 98"/>
                <a:gd name="T2" fmla="*/ 48 w 98"/>
                <a:gd name="T3" fmla="*/ 98 h 98"/>
                <a:gd name="T4" fmla="*/ 44 w 98"/>
                <a:gd name="T5" fmla="*/ 94 h 98"/>
                <a:gd name="T6" fmla="*/ 2 w 98"/>
                <a:gd name="T7" fmla="*/ 9 h 98"/>
                <a:gd name="T8" fmla="*/ 4 w 98"/>
                <a:gd name="T9" fmla="*/ 1 h 98"/>
                <a:gd name="T10" fmla="*/ 13 w 98"/>
                <a:gd name="T11" fmla="*/ 4 h 98"/>
                <a:gd name="T12" fmla="*/ 51 w 98"/>
                <a:gd name="T13" fmla="*/ 82 h 98"/>
                <a:gd name="T14" fmla="*/ 87 w 98"/>
                <a:gd name="T15" fmla="*/ 51 h 98"/>
                <a:gd name="T16" fmla="*/ 96 w 98"/>
                <a:gd name="T17" fmla="*/ 51 h 98"/>
                <a:gd name="T18" fmla="*/ 95 w 98"/>
                <a:gd name="T19" fmla="*/ 60 h 98"/>
                <a:gd name="T20" fmla="*/ 53 w 98"/>
                <a:gd name="T21" fmla="*/ 96 h 98"/>
                <a:gd name="T22" fmla="*/ 49 w 98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98">
                  <a:moveTo>
                    <a:pt x="49" y="98"/>
                  </a:moveTo>
                  <a:cubicBezTo>
                    <a:pt x="49" y="98"/>
                    <a:pt x="48" y="98"/>
                    <a:pt x="48" y="98"/>
                  </a:cubicBezTo>
                  <a:cubicBezTo>
                    <a:pt x="46" y="97"/>
                    <a:pt x="45" y="96"/>
                    <a:pt x="44" y="9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6"/>
                    <a:pt x="1" y="3"/>
                    <a:pt x="4" y="1"/>
                  </a:cubicBezTo>
                  <a:cubicBezTo>
                    <a:pt x="7" y="0"/>
                    <a:pt x="11" y="1"/>
                    <a:pt x="13" y="4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90" y="48"/>
                    <a:pt x="94" y="49"/>
                    <a:pt x="96" y="51"/>
                  </a:cubicBezTo>
                  <a:cubicBezTo>
                    <a:pt x="98" y="54"/>
                    <a:pt x="98" y="58"/>
                    <a:pt x="95" y="60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2" y="97"/>
                    <a:pt x="51" y="98"/>
                    <a:pt x="49" y="9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69" name="Freeform 796">
              <a:extLst>
                <a:ext uri="{FF2B5EF4-FFF2-40B4-BE49-F238E27FC236}">
                  <a16:creationId xmlns:a16="http://schemas.microsoft.com/office/drawing/2014/main" id="{5E7B60C2-42F0-99B3-A228-E092A40B3F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82927" y="6827680"/>
              <a:ext cx="436094" cy="426815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3 h 170"/>
                <a:gd name="T12" fmla="*/ 13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9" y="170"/>
                    <a:pt x="0" y="132"/>
                    <a:pt x="0" y="85"/>
                  </a:cubicBezTo>
                  <a:cubicBezTo>
                    <a:pt x="0" y="38"/>
                    <a:pt x="39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3"/>
                  </a:moveTo>
                  <a:cubicBezTo>
                    <a:pt x="45" y="13"/>
                    <a:pt x="13" y="45"/>
                    <a:pt x="13" y="85"/>
                  </a:cubicBezTo>
                  <a:cubicBezTo>
                    <a:pt x="13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3"/>
                    <a:pt x="85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  <p:sp>
          <p:nvSpPr>
            <p:cNvPr id="70" name="Freeform 797">
              <a:extLst>
                <a:ext uri="{FF2B5EF4-FFF2-40B4-BE49-F238E27FC236}">
                  <a16:creationId xmlns:a16="http://schemas.microsoft.com/office/drawing/2014/main" id="{D86A33A4-2B08-6551-0426-C429DA074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5465" y="7161711"/>
              <a:ext cx="185569" cy="176295"/>
            </a:xfrm>
            <a:custGeom>
              <a:avLst/>
              <a:gdLst>
                <a:gd name="T0" fmla="*/ 65 w 72"/>
                <a:gd name="T1" fmla="*/ 71 h 71"/>
                <a:gd name="T2" fmla="*/ 60 w 72"/>
                <a:gd name="T3" fmla="*/ 70 h 71"/>
                <a:gd name="T4" fmla="*/ 2 w 72"/>
                <a:gd name="T5" fmla="*/ 12 h 71"/>
                <a:gd name="T6" fmla="*/ 2 w 72"/>
                <a:gd name="T7" fmla="*/ 3 h 71"/>
                <a:gd name="T8" fmla="*/ 11 w 72"/>
                <a:gd name="T9" fmla="*/ 3 h 71"/>
                <a:gd name="T10" fmla="*/ 69 w 72"/>
                <a:gd name="T11" fmla="*/ 61 h 71"/>
                <a:gd name="T12" fmla="*/ 69 w 72"/>
                <a:gd name="T13" fmla="*/ 70 h 71"/>
                <a:gd name="T14" fmla="*/ 65 w 72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71">
                  <a:moveTo>
                    <a:pt x="65" y="71"/>
                  </a:moveTo>
                  <a:cubicBezTo>
                    <a:pt x="63" y="71"/>
                    <a:pt x="62" y="71"/>
                    <a:pt x="60" y="7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2" y="63"/>
                    <a:pt x="72" y="67"/>
                    <a:pt x="69" y="70"/>
                  </a:cubicBezTo>
                  <a:cubicBezTo>
                    <a:pt x="68" y="71"/>
                    <a:pt x="66" y="71"/>
                    <a:pt x="65" y="7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18355" tIns="59178" rIns="118355" bIns="59178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2329" dirty="0"/>
            </a:p>
          </p:txBody>
        </p:sp>
      </p:grpSp>
    </p:spTree>
    <p:extLst>
      <p:ext uri="{BB962C8B-B14F-4D97-AF65-F5344CB8AC3E}">
        <p14:creationId xmlns:p14="http://schemas.microsoft.com/office/powerpoint/2010/main" val="1866871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8</TotalTime>
  <Words>2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98</cp:revision>
  <dcterms:created xsi:type="dcterms:W3CDTF">2021-03-31T02:49:57Z</dcterms:created>
  <dcterms:modified xsi:type="dcterms:W3CDTF">2025-10-16T11:32:55Z</dcterms:modified>
  <cp:category/>
</cp:coreProperties>
</file>